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2.xml" ContentType="application/vnd.openxmlformats-officedocument.theme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3.xml" ContentType="application/vnd.openxmlformats-officedocument.theme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4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theme/theme5.xml" ContentType="application/vnd.openxmlformats-officedocument.theme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theme/theme6.xml" ContentType="application/vnd.openxmlformats-officedocument.theme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theme/theme7.xml" ContentType="application/vnd.openxmlformats-officedocument.theme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theme/theme8.xml" ContentType="application/vnd.openxmlformats-officedocument.theme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theme/theme9.xml" ContentType="application/vnd.openxmlformats-officedocument.theme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theme/theme10.xml" ContentType="application/vnd.openxmlformats-officedocument.theme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theme/theme11.xml" ContentType="application/vnd.openxmlformats-officedocument.theme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theme/theme12.xml" ContentType="application/vnd.openxmlformats-officedocument.theme+xml"/>
  <Override PartName="/ppt/theme/theme1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6"/>
    <p:sldMasterId id="2147483829" r:id="rId7"/>
    <p:sldMasterId id="2147483857" r:id="rId8"/>
    <p:sldMasterId id="2147483886" r:id="rId9"/>
    <p:sldMasterId id="2147483914" r:id="rId10"/>
    <p:sldMasterId id="2147483939" r:id="rId11"/>
    <p:sldMasterId id="2147483967" r:id="rId12"/>
    <p:sldMasterId id="2147483980" r:id="rId13"/>
    <p:sldMasterId id="2147483998" r:id="rId14"/>
    <p:sldMasterId id="2147484016" r:id="rId15"/>
    <p:sldMasterId id="2147484044" r:id="rId16"/>
    <p:sldMasterId id="2147484073" r:id="rId17"/>
  </p:sldMasterIdLst>
  <p:notesMasterIdLst>
    <p:notesMasterId r:id="rId67"/>
  </p:notesMasterIdLst>
  <p:sldIdLst>
    <p:sldId id="668" r:id="rId18"/>
    <p:sldId id="677" r:id="rId19"/>
    <p:sldId id="679" r:id="rId20"/>
    <p:sldId id="753" r:id="rId21"/>
    <p:sldId id="754" r:id="rId22"/>
    <p:sldId id="636" r:id="rId23"/>
    <p:sldId id="709" r:id="rId24"/>
    <p:sldId id="707" r:id="rId25"/>
    <p:sldId id="727" r:id="rId26"/>
    <p:sldId id="756" r:id="rId27"/>
    <p:sldId id="758" r:id="rId28"/>
    <p:sldId id="759" r:id="rId29"/>
    <p:sldId id="757" r:id="rId30"/>
    <p:sldId id="674" r:id="rId31"/>
    <p:sldId id="747" r:id="rId32"/>
    <p:sldId id="746" r:id="rId33"/>
    <p:sldId id="731" r:id="rId34"/>
    <p:sldId id="730" r:id="rId35"/>
    <p:sldId id="732" r:id="rId36"/>
    <p:sldId id="722" r:id="rId37"/>
    <p:sldId id="680" r:id="rId38"/>
    <p:sldId id="755" r:id="rId39"/>
    <p:sldId id="776" r:id="rId40"/>
    <p:sldId id="767" r:id="rId41"/>
    <p:sldId id="760" r:id="rId42"/>
    <p:sldId id="733" r:id="rId43"/>
    <p:sldId id="761" r:id="rId44"/>
    <p:sldId id="762" r:id="rId45"/>
    <p:sldId id="763" r:id="rId46"/>
    <p:sldId id="764" r:id="rId47"/>
    <p:sldId id="725" r:id="rId48"/>
    <p:sldId id="765" r:id="rId49"/>
    <p:sldId id="735" r:id="rId50"/>
    <p:sldId id="726" r:id="rId51"/>
    <p:sldId id="736" r:id="rId52"/>
    <p:sldId id="737" r:id="rId53"/>
    <p:sldId id="739" r:id="rId54"/>
    <p:sldId id="772" r:id="rId55"/>
    <p:sldId id="773" r:id="rId56"/>
    <p:sldId id="774" r:id="rId57"/>
    <p:sldId id="775" r:id="rId58"/>
    <p:sldId id="704" r:id="rId59"/>
    <p:sldId id="748" r:id="rId60"/>
    <p:sldId id="751" r:id="rId61"/>
    <p:sldId id="750" r:id="rId62"/>
    <p:sldId id="752" r:id="rId63"/>
    <p:sldId id="670" r:id="rId64"/>
    <p:sldId id="682" r:id="rId65"/>
    <p:sldId id="285" r:id="rId66"/>
  </p:sldIdLst>
  <p:sldSz cx="12192000" cy="6858000"/>
  <p:notesSz cx="7010400" cy="9236075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F4AA98D0-4922-4CBC-BC91-7B29547F2065}">
          <p14:sldIdLst>
            <p14:sldId id="668"/>
            <p14:sldId id="677"/>
            <p14:sldId id="679"/>
            <p14:sldId id="753"/>
            <p14:sldId id="754"/>
            <p14:sldId id="636"/>
            <p14:sldId id="709"/>
            <p14:sldId id="707"/>
            <p14:sldId id="727"/>
            <p14:sldId id="756"/>
            <p14:sldId id="758"/>
            <p14:sldId id="759"/>
            <p14:sldId id="757"/>
            <p14:sldId id="674"/>
            <p14:sldId id="747"/>
            <p14:sldId id="746"/>
            <p14:sldId id="731"/>
            <p14:sldId id="730"/>
            <p14:sldId id="732"/>
            <p14:sldId id="722"/>
            <p14:sldId id="680"/>
            <p14:sldId id="755"/>
            <p14:sldId id="776"/>
            <p14:sldId id="767"/>
            <p14:sldId id="760"/>
            <p14:sldId id="733"/>
            <p14:sldId id="761"/>
            <p14:sldId id="762"/>
            <p14:sldId id="763"/>
            <p14:sldId id="764"/>
            <p14:sldId id="725"/>
            <p14:sldId id="765"/>
            <p14:sldId id="735"/>
            <p14:sldId id="726"/>
            <p14:sldId id="736"/>
            <p14:sldId id="737"/>
            <p14:sldId id="739"/>
            <p14:sldId id="772"/>
            <p14:sldId id="773"/>
            <p14:sldId id="774"/>
            <p14:sldId id="775"/>
            <p14:sldId id="704"/>
            <p14:sldId id="748"/>
            <p14:sldId id="751"/>
            <p14:sldId id="750"/>
            <p14:sldId id="752"/>
            <p14:sldId id="670"/>
            <p14:sldId id="682"/>
            <p14:sldId id="285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7" name="Demo" initials="D" lastIdx="5" clrIdx="6">
    <p:extLst>
      <p:ext uri="{19B8F6BF-5375-455C-9EA6-DF929625EA0E}">
        <p15:presenceInfo xmlns:p15="http://schemas.microsoft.com/office/powerpoint/2012/main" userId="Demo" providerId="None"/>
      </p:ext>
    </p:extLst>
  </p:cmAuthor>
  <p:cmAuthor id="1" name="Shashank Khedikar (RGEN Solutions)" initials="SK(S" lastIdx="5" clrIdx="0">
    <p:extLst>
      <p:ext uri="{19B8F6BF-5375-455C-9EA6-DF929625EA0E}">
        <p15:presenceInfo xmlns:p15="http://schemas.microsoft.com/office/powerpoint/2012/main" userId="S-1-5-21-2127521184-1604012920-1887927527-7492838" providerId="AD"/>
      </p:ext>
    </p:extLst>
  </p:cmAuthor>
  <p:cmAuthor id="2" name="Author" initials="A" lastIdx="516" clrIdx="1"/>
  <p:cmAuthor id="4" name="Sanjay Soni" initials="SS" lastIdx="46" clrIdx="3">
    <p:extLst>
      <p:ext uri="{19B8F6BF-5375-455C-9EA6-DF929625EA0E}">
        <p15:presenceInfo xmlns:p15="http://schemas.microsoft.com/office/powerpoint/2012/main" userId="S-1-5-21-2127521184-1604012920-1887927527-2307239" providerId="AD"/>
      </p:ext>
    </p:extLst>
  </p:cmAuthor>
  <p:cmAuthor id="5" name="John Doyle" initials="JD" lastIdx="34" clrIdx="4">
    <p:extLst>
      <p:ext uri="{19B8F6BF-5375-455C-9EA6-DF929625EA0E}">
        <p15:presenceInfo xmlns:p15="http://schemas.microsoft.com/office/powerpoint/2012/main" userId="S-1-5-21-2127521184-1604012920-1887927527-2390110" providerId="AD"/>
      </p:ext>
    </p:extLst>
  </p:cmAuthor>
  <p:cmAuthor id="6" name="Christoph Schuler (Advaiya Inc)" initials="CS(I" lastIdx="2" clrIdx="5">
    <p:extLst>
      <p:ext uri="{19B8F6BF-5375-455C-9EA6-DF929625EA0E}">
        <p15:presenceInfo xmlns:p15="http://schemas.microsoft.com/office/powerpoint/2012/main" userId="Christoph Schuler (Advaiya Inc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DDDDD"/>
    <a:srgbClr val="FFCC00"/>
    <a:srgbClr val="FFE285"/>
    <a:srgbClr val="E8E8E8"/>
    <a:srgbClr val="EEEEEE"/>
    <a:srgbClr val="EDC30D"/>
    <a:srgbClr val="F2C812"/>
    <a:srgbClr val="000000"/>
    <a:srgbClr val="FFFF00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574" autoAdjust="0"/>
    <p:restoredTop sz="90825" autoAdjust="0"/>
  </p:normalViewPr>
  <p:slideViewPr>
    <p:cSldViewPr snapToGrid="0">
      <p:cViewPr varScale="1">
        <p:scale>
          <a:sx n="67" d="100"/>
          <a:sy n="67" d="100"/>
        </p:scale>
        <p:origin x="960" y="60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9.xml"/><Relationship Id="rId21" Type="http://schemas.openxmlformats.org/officeDocument/2006/relationships/slide" Target="slides/slide4.xml"/><Relationship Id="rId42" Type="http://schemas.openxmlformats.org/officeDocument/2006/relationships/slide" Target="slides/slide25.xml"/><Relationship Id="rId47" Type="http://schemas.openxmlformats.org/officeDocument/2006/relationships/slide" Target="slides/slide30.xml"/><Relationship Id="rId63" Type="http://schemas.openxmlformats.org/officeDocument/2006/relationships/slide" Target="slides/slide46.xml"/><Relationship Id="rId68" Type="http://schemas.openxmlformats.org/officeDocument/2006/relationships/commentAuthors" Target="commentAuthors.xml"/><Relationship Id="rId7" Type="http://schemas.openxmlformats.org/officeDocument/2006/relationships/slideMaster" Target="slideMasters/slideMaster2.xml"/><Relationship Id="rId71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Master" Target="slideMasters/slideMaster11.xml"/><Relationship Id="rId29" Type="http://schemas.openxmlformats.org/officeDocument/2006/relationships/slide" Target="slides/slide12.xml"/><Relationship Id="rId11" Type="http://schemas.openxmlformats.org/officeDocument/2006/relationships/slideMaster" Target="slideMasters/slideMaster6.xml"/><Relationship Id="rId24" Type="http://schemas.openxmlformats.org/officeDocument/2006/relationships/slide" Target="slides/slide7.xml"/><Relationship Id="rId32" Type="http://schemas.openxmlformats.org/officeDocument/2006/relationships/slide" Target="slides/slide15.xml"/><Relationship Id="rId37" Type="http://schemas.openxmlformats.org/officeDocument/2006/relationships/slide" Target="slides/slide20.xml"/><Relationship Id="rId40" Type="http://schemas.openxmlformats.org/officeDocument/2006/relationships/slide" Target="slides/slide23.xml"/><Relationship Id="rId45" Type="http://schemas.openxmlformats.org/officeDocument/2006/relationships/slide" Target="slides/slide28.xml"/><Relationship Id="rId53" Type="http://schemas.openxmlformats.org/officeDocument/2006/relationships/slide" Target="slides/slide36.xml"/><Relationship Id="rId58" Type="http://schemas.openxmlformats.org/officeDocument/2006/relationships/slide" Target="slides/slide41.xml"/><Relationship Id="rId66" Type="http://schemas.openxmlformats.org/officeDocument/2006/relationships/slide" Target="slides/slide49.xml"/><Relationship Id="rId5" Type="http://schemas.openxmlformats.org/officeDocument/2006/relationships/customXml" Target="../customXml/item5.xml"/><Relationship Id="rId61" Type="http://schemas.openxmlformats.org/officeDocument/2006/relationships/slide" Target="slides/slide44.xml"/><Relationship Id="rId19" Type="http://schemas.openxmlformats.org/officeDocument/2006/relationships/slide" Target="slides/slide2.xml"/><Relationship Id="rId14" Type="http://schemas.openxmlformats.org/officeDocument/2006/relationships/slideMaster" Target="slideMasters/slideMaster9.xml"/><Relationship Id="rId22" Type="http://schemas.openxmlformats.org/officeDocument/2006/relationships/slide" Target="slides/slide5.xml"/><Relationship Id="rId27" Type="http://schemas.openxmlformats.org/officeDocument/2006/relationships/slide" Target="slides/slide10.xml"/><Relationship Id="rId30" Type="http://schemas.openxmlformats.org/officeDocument/2006/relationships/slide" Target="slides/slide13.xml"/><Relationship Id="rId35" Type="http://schemas.openxmlformats.org/officeDocument/2006/relationships/slide" Target="slides/slide18.xml"/><Relationship Id="rId43" Type="http://schemas.openxmlformats.org/officeDocument/2006/relationships/slide" Target="slides/slide26.xml"/><Relationship Id="rId48" Type="http://schemas.openxmlformats.org/officeDocument/2006/relationships/slide" Target="slides/slide31.xml"/><Relationship Id="rId56" Type="http://schemas.openxmlformats.org/officeDocument/2006/relationships/slide" Target="slides/slide39.xml"/><Relationship Id="rId64" Type="http://schemas.openxmlformats.org/officeDocument/2006/relationships/slide" Target="slides/slide47.xml"/><Relationship Id="rId69" Type="http://schemas.openxmlformats.org/officeDocument/2006/relationships/presProps" Target="presProps.xml"/><Relationship Id="rId8" Type="http://schemas.openxmlformats.org/officeDocument/2006/relationships/slideMaster" Target="slideMasters/slideMaster3.xml"/><Relationship Id="rId51" Type="http://schemas.openxmlformats.org/officeDocument/2006/relationships/slide" Target="slides/slide34.xml"/><Relationship Id="rId72" Type="http://schemas.openxmlformats.org/officeDocument/2006/relationships/tableStyles" Target="tableStyles.xml"/><Relationship Id="rId3" Type="http://schemas.openxmlformats.org/officeDocument/2006/relationships/customXml" Target="../customXml/item3.xml"/><Relationship Id="rId12" Type="http://schemas.openxmlformats.org/officeDocument/2006/relationships/slideMaster" Target="slideMasters/slideMaster7.xml"/><Relationship Id="rId17" Type="http://schemas.openxmlformats.org/officeDocument/2006/relationships/slideMaster" Target="slideMasters/slideMaster12.xml"/><Relationship Id="rId25" Type="http://schemas.openxmlformats.org/officeDocument/2006/relationships/slide" Target="slides/slide8.xml"/><Relationship Id="rId33" Type="http://schemas.openxmlformats.org/officeDocument/2006/relationships/slide" Target="slides/slide16.xml"/><Relationship Id="rId38" Type="http://schemas.openxmlformats.org/officeDocument/2006/relationships/slide" Target="slides/slide21.xml"/><Relationship Id="rId46" Type="http://schemas.openxmlformats.org/officeDocument/2006/relationships/slide" Target="slides/slide29.xml"/><Relationship Id="rId59" Type="http://schemas.openxmlformats.org/officeDocument/2006/relationships/slide" Target="slides/slide42.xml"/><Relationship Id="rId67" Type="http://schemas.openxmlformats.org/officeDocument/2006/relationships/notesMaster" Target="notesMasters/notesMaster1.xml"/><Relationship Id="rId20" Type="http://schemas.openxmlformats.org/officeDocument/2006/relationships/slide" Target="slides/slide3.xml"/><Relationship Id="rId41" Type="http://schemas.openxmlformats.org/officeDocument/2006/relationships/slide" Target="slides/slide24.xml"/><Relationship Id="rId54" Type="http://schemas.openxmlformats.org/officeDocument/2006/relationships/slide" Target="slides/slide37.xml"/><Relationship Id="rId62" Type="http://schemas.openxmlformats.org/officeDocument/2006/relationships/slide" Target="slides/slide45.xml"/><Relationship Id="rId7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1.xml"/><Relationship Id="rId15" Type="http://schemas.openxmlformats.org/officeDocument/2006/relationships/slideMaster" Target="slideMasters/slideMaster10.xml"/><Relationship Id="rId23" Type="http://schemas.openxmlformats.org/officeDocument/2006/relationships/slide" Target="slides/slide6.xml"/><Relationship Id="rId28" Type="http://schemas.openxmlformats.org/officeDocument/2006/relationships/slide" Target="slides/slide11.xml"/><Relationship Id="rId36" Type="http://schemas.openxmlformats.org/officeDocument/2006/relationships/slide" Target="slides/slide19.xml"/><Relationship Id="rId49" Type="http://schemas.openxmlformats.org/officeDocument/2006/relationships/slide" Target="slides/slide32.xml"/><Relationship Id="rId57" Type="http://schemas.openxmlformats.org/officeDocument/2006/relationships/slide" Target="slides/slide40.xml"/><Relationship Id="rId10" Type="http://schemas.openxmlformats.org/officeDocument/2006/relationships/slideMaster" Target="slideMasters/slideMaster5.xml"/><Relationship Id="rId31" Type="http://schemas.openxmlformats.org/officeDocument/2006/relationships/slide" Target="slides/slide14.xml"/><Relationship Id="rId44" Type="http://schemas.openxmlformats.org/officeDocument/2006/relationships/slide" Target="slides/slide27.xml"/><Relationship Id="rId52" Type="http://schemas.openxmlformats.org/officeDocument/2006/relationships/slide" Target="slides/slide35.xml"/><Relationship Id="rId60" Type="http://schemas.openxmlformats.org/officeDocument/2006/relationships/slide" Target="slides/slide43.xml"/><Relationship Id="rId65" Type="http://schemas.openxmlformats.org/officeDocument/2006/relationships/slide" Target="slides/slide48.xml"/><Relationship Id="rId4" Type="http://schemas.openxmlformats.org/officeDocument/2006/relationships/customXml" Target="../customXml/item4.xml"/><Relationship Id="rId9" Type="http://schemas.openxmlformats.org/officeDocument/2006/relationships/slideMaster" Target="slideMasters/slideMaster4.xml"/><Relationship Id="rId13" Type="http://schemas.openxmlformats.org/officeDocument/2006/relationships/slideMaster" Target="slideMasters/slideMaster8.xml"/><Relationship Id="rId18" Type="http://schemas.openxmlformats.org/officeDocument/2006/relationships/slide" Target="slides/slide1.xml"/><Relationship Id="rId39" Type="http://schemas.openxmlformats.org/officeDocument/2006/relationships/slide" Target="slides/slide22.xml"/><Relationship Id="rId34" Type="http://schemas.openxmlformats.org/officeDocument/2006/relationships/slide" Target="slides/slide17.xml"/><Relationship Id="rId50" Type="http://schemas.openxmlformats.org/officeDocument/2006/relationships/slide" Target="slides/slide33.xml"/><Relationship Id="rId55" Type="http://schemas.openxmlformats.org/officeDocument/2006/relationships/slide" Target="slides/slide38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340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340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9A8EEF1-40DE-49EB-B8BE-E849EEAC24BC}" type="datetimeFigureOut">
              <a:rPr lang="en-US" smtClean="0"/>
              <a:t>6/24/2018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35013" y="1154113"/>
            <a:ext cx="5540375" cy="31162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44862"/>
            <a:ext cx="5608320" cy="363670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772669"/>
            <a:ext cx="3037840" cy="46340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772669"/>
            <a:ext cx="3037840" cy="46340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75C3270-D5B6-4AE0-BFEC-3BB548CBAE0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288444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baseline="0" dirty="0" smtClean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329DEA-6433-4493-B9C4-3E0AC755FE5D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366795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75C3270-D5B6-4AE0-BFEC-3BB548CBAE0E}" type="slidenum">
              <a:rPr lang="en-US" smtClean="0"/>
              <a:t>3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561317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75C3270-D5B6-4AE0-BFEC-3BB548CBAE0E}" type="slidenum">
              <a:rPr lang="en-US" smtClean="0"/>
              <a:t>3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1670252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75C3270-D5B6-4AE0-BFEC-3BB548CBAE0E}" type="slidenum">
              <a:rPr lang="en-US" smtClean="0"/>
              <a:t>3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7853384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75C3270-D5B6-4AE0-BFEC-3BB548CBAE0E}" type="slidenum">
              <a:rPr lang="en-US" smtClean="0"/>
              <a:t>3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918383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75C3270-D5B6-4AE0-BFEC-3BB548CBAE0E}" type="slidenum">
              <a:rPr lang="en-US" smtClean="0"/>
              <a:t>3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812406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75C3270-D5B6-4AE0-BFEC-3BB548CBAE0E}" type="slidenum">
              <a:rPr lang="en-US" smtClean="0"/>
              <a:t>4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802764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75C3270-D5B6-4AE0-BFEC-3BB548CBAE0E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9840956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75C3270-D5B6-4AE0-BFEC-3BB548CBAE0E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5005329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75C3270-D5B6-4AE0-BFEC-3BB548CBAE0E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9122726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75C3270-D5B6-4AE0-BFEC-3BB548CBAE0E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9521501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75C3270-D5B6-4AE0-BFEC-3BB548CBAE0E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7701774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75C3270-D5B6-4AE0-BFEC-3BB548CBAE0E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230157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75C3270-D5B6-4AE0-BFEC-3BB548CBAE0E}" type="slidenum">
              <a:rPr lang="en-US" smtClean="0"/>
              <a:t>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42581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75C3270-D5B6-4AE0-BFEC-3BB548CBAE0E}" type="slidenum">
              <a:rPr lang="en-US" smtClean="0"/>
              <a:t>3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702913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0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10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1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11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emf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1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1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emf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12.xml"/></Relationships>
</file>

<file path=ppt/slideLayouts/_rels/slideLayout1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emf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12.xml"/></Relationships>
</file>

<file path=ppt/slideLayouts/_rels/slideLayout1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12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g"/><Relationship Id="rId1" Type="http://schemas.openxmlformats.org/officeDocument/2006/relationships/slideMaster" Target="../slideMasters/slideMaster12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12.xml"/></Relationships>
</file>

<file path=ppt/slideLayouts/_rels/slideLayout1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emf"/><Relationship Id="rId1" Type="http://schemas.openxmlformats.org/officeDocument/2006/relationships/slideMaster" Target="../slideMasters/slideMaster12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image" Target="../media/image3.jpe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9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Red Til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77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762" b="19386"/>
          <a:stretch/>
        </p:blipFill>
        <p:spPr>
          <a:xfrm>
            <a:off x="0" y="1"/>
            <a:ext cx="12192000" cy="6874524"/>
          </a:xfrm>
          <a:prstGeom prst="rect">
            <a:avLst/>
          </a:prstGeom>
        </p:spPr>
      </p:pic>
      <p:sp>
        <p:nvSpPr>
          <p:cNvPr id="11" name="Rectangle 10"/>
          <p:cNvSpPr/>
          <p:nvPr/>
        </p:nvSpPr>
        <p:spPr>
          <a:xfrm>
            <a:off x="133470" y="325979"/>
            <a:ext cx="6233021" cy="4148709"/>
          </a:xfrm>
          <a:prstGeom prst="rect">
            <a:avLst/>
          </a:prstGeom>
          <a:solidFill>
            <a:srgbClr val="F2C812">
              <a:alpha val="83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en-US" kern="0" smtClean="0">
              <a:gradFill>
                <a:gsLst>
                  <a:gs pos="93162">
                    <a:srgbClr val="505050">
                      <a:lumMod val="50000"/>
                    </a:srgbClr>
                  </a:gs>
                  <a:gs pos="68000">
                    <a:srgbClr val="505050">
                      <a:lumMod val="50000"/>
                    </a:srgbClr>
                  </a:gs>
                </a:gsLst>
                <a:lin ang="5400000" scaled="0"/>
              </a:gra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223347" y="599489"/>
            <a:ext cx="6053269" cy="1292662"/>
          </a:xfrm>
          <a:prstGeom prst="rect">
            <a:avLst/>
          </a:prstGeom>
          <a:noFill/>
        </p:spPr>
        <p:txBody>
          <a:bodyPr wrap="square" lIns="228600" tIns="91440" rIns="228600" bIns="91440" rtlCol="0">
            <a:spAutoFit/>
          </a:bodyPr>
          <a:lstStyle/>
          <a:p>
            <a:pPr defTabSz="914099" fontAlgn="base">
              <a:lnSpc>
                <a:spcPct val="90000"/>
              </a:lnSpc>
              <a:spcAft>
                <a:spcPts val="1200"/>
              </a:spcAft>
            </a:pPr>
            <a:r>
              <a:rPr lang="en-US" sz="4000" dirty="0" smtClean="0">
                <a:gradFill>
                  <a:gsLst>
                    <a:gs pos="93162">
                      <a:srgbClr val="505050">
                        <a:lumMod val="50000"/>
                      </a:srgbClr>
                    </a:gs>
                    <a:gs pos="68000">
                      <a:srgbClr val="505050">
                        <a:lumMod val="50000"/>
                      </a:srgbClr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Bring your data to life with Microsoft </a:t>
            </a:r>
            <a:r>
              <a:rPr lang="en-US" sz="4000" dirty="0">
                <a:gradFill>
                  <a:gsLst>
                    <a:gs pos="93162">
                      <a:srgbClr val="505050">
                        <a:lumMod val="50000"/>
                      </a:srgbClr>
                    </a:gs>
                    <a:gs pos="68000">
                      <a:srgbClr val="505050">
                        <a:lumMod val="50000"/>
                      </a:srgbClr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Power BI</a:t>
            </a:r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464020" y="2908517"/>
            <a:ext cx="5199207" cy="994420"/>
          </a:xfrm>
          <a:prstGeom prst="rect">
            <a:avLst/>
          </a:prstGeom>
        </p:spPr>
        <p:txBody>
          <a:bodyPr lIns="182880" tIns="146304" rIns="182880" bIns="146304"/>
          <a:lstStyle>
            <a:lvl1pPr marL="0" indent="0" algn="l">
              <a:lnSpc>
                <a:spcPct val="90000"/>
              </a:lnSpc>
              <a:buNone/>
              <a:defRPr sz="2157">
                <a:solidFill>
                  <a:schemeClr val="tx1"/>
                </a:solidFill>
                <a:latin typeface="+mn-lt"/>
              </a:defRPr>
            </a:lvl1pPr>
            <a:lvl2pPr marL="4481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963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445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927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409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891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373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5855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peaker Name</a:t>
            </a:r>
            <a:br>
              <a:rPr lang="en-US" dirty="0" smtClean="0"/>
            </a:br>
            <a:r>
              <a:rPr lang="en-US" dirty="0" smtClean="0"/>
              <a:t>Date</a:t>
            </a:r>
          </a:p>
        </p:txBody>
      </p:sp>
      <p:sp>
        <p:nvSpPr>
          <p:cNvPr id="14" name="Subtitle 2"/>
          <p:cNvSpPr txBox="1">
            <a:spLocks/>
          </p:cNvSpPr>
          <p:nvPr userDrawn="1"/>
        </p:nvSpPr>
        <p:spPr>
          <a:xfrm>
            <a:off x="464020" y="2045436"/>
            <a:ext cx="5199207" cy="709796"/>
          </a:xfrm>
          <a:prstGeom prst="rect">
            <a:avLst/>
          </a:prstGeom>
        </p:spPr>
        <p:txBody>
          <a:bodyPr vert="horz" wrap="square" lIns="182880" tIns="146304" rIns="182880" bIns="146304" rtlCol="0">
            <a:noAutofit/>
          </a:bodyPr>
          <a:lstStyle>
            <a:lvl1pPr marL="0" marR="0" indent="0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sz="2157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48193" marR="0" indent="0" algn="ctr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sz="2353" kern="1200" spc="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896386" marR="0" indent="0" algn="ctr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sz="1961" kern="1200" spc="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44579" marR="0" indent="0" algn="ctr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sz="1765" kern="1200" spc="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792773" marR="0" indent="0" algn="ctr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sz="1765" kern="1200" spc="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40966" indent="0" algn="ctr" defTabSz="914367" rtl="0" eaLnBrk="1" latinLnBrk="0" hangingPunct="1">
              <a:spcBef>
                <a:spcPct val="20000"/>
              </a:spcBef>
              <a:buFont typeface="Arial" pitchFamily="34" charset="0"/>
              <a:buNone/>
              <a:defRPr sz="1961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689159" indent="0" algn="ctr" defTabSz="914367" rtl="0" eaLnBrk="1" latinLnBrk="0" hangingPunct="1">
              <a:spcBef>
                <a:spcPct val="20000"/>
              </a:spcBef>
              <a:buFont typeface="Arial" pitchFamily="34" charset="0"/>
              <a:buNone/>
              <a:defRPr sz="1961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137352" indent="0" algn="ctr" defTabSz="914367" rtl="0" eaLnBrk="1" latinLnBrk="0" hangingPunct="1">
              <a:spcBef>
                <a:spcPct val="20000"/>
              </a:spcBef>
              <a:buFont typeface="Arial" pitchFamily="34" charset="0"/>
              <a:buNone/>
              <a:defRPr sz="1961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585545" indent="0" algn="ctr" defTabSz="914367" rtl="0" eaLnBrk="1" latinLnBrk="0" hangingPunct="1">
              <a:spcBef>
                <a:spcPct val="20000"/>
              </a:spcBef>
              <a:buFont typeface="Arial" pitchFamily="34" charset="0"/>
              <a:buNone/>
              <a:defRPr sz="1961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/>
              <a:t>Level 200 Deck</a:t>
            </a:r>
          </a:p>
        </p:txBody>
      </p:sp>
    </p:spTree>
    <p:extLst>
      <p:ext uri="{BB962C8B-B14F-4D97-AF65-F5344CB8AC3E}">
        <p14:creationId xmlns:p14="http://schemas.microsoft.com/office/powerpoint/2010/main" val="30549681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CA5589A-9F62-4CEA-B61D-6CFE7E0898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87698ED-4644-4A80-B7F9-2CE84493007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B27456E-A6E7-4061-9335-FB464AC0D5B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16CAE1-5D02-43B9-AEA5-34B38E13A306}" type="datetimeFigureOut">
              <a:rPr lang="en-US" smtClean="0"/>
              <a:t>6/24/2018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6DB4359-19D6-4E25-BE9A-27A96413ED4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92D7A68-BAF0-42F7-B9FF-B341C39437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7E856-4EB5-4F22-84B5-DAAB390ED08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0116692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0" y="1189177"/>
            <a:ext cx="11653523" cy="2052030"/>
          </a:xfrm>
        </p:spPr>
        <p:txBody>
          <a:bodyPr>
            <a:spAutoFit/>
          </a:bodyPr>
          <a:lstStyle>
            <a:lvl1pPr>
              <a:defRPr sz="3920"/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97186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2-color Non-bulle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2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6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1961"/>
            </a:lvl2pPr>
            <a:lvl3pPr marL="227165" indent="0">
              <a:buNone/>
              <a:tabLst/>
              <a:defRPr sz="1961"/>
            </a:lvl3pPr>
            <a:lvl4pPr marL="451219" indent="0">
              <a:buNone/>
              <a:defRPr/>
            </a:lvl4pPr>
            <a:lvl5pPr marL="672161" indent="0">
              <a:buNone/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6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1961"/>
            </a:lvl2pPr>
            <a:lvl3pPr marL="227165" indent="0">
              <a:buNone/>
              <a:tabLst/>
              <a:defRPr sz="1961"/>
            </a:lvl3pPr>
            <a:lvl4pPr marL="451219" indent="0">
              <a:buNone/>
              <a:defRPr/>
            </a:lvl4pPr>
            <a:lvl5pPr marL="672161" indent="0">
              <a:buNone/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73437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2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6"/>
            </a:lvl1pPr>
            <a:lvl2pPr marL="0" indent="0">
              <a:buNone/>
              <a:defRPr sz="1961"/>
            </a:lvl2pPr>
            <a:lvl3pPr marL="227165" indent="0">
              <a:buNone/>
              <a:tabLst/>
              <a:defRPr sz="1961"/>
            </a:lvl3pPr>
            <a:lvl4pPr marL="451219" indent="0">
              <a:buNone/>
              <a:defRPr/>
            </a:lvl4pPr>
            <a:lvl5pPr marL="672161" indent="0">
              <a:buNone/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6"/>
            </a:lvl1pPr>
            <a:lvl2pPr marL="0" indent="0">
              <a:buNone/>
              <a:defRPr sz="1961"/>
            </a:lvl2pPr>
            <a:lvl3pPr marL="227165" indent="0">
              <a:buNone/>
              <a:tabLst/>
              <a:defRPr sz="1961"/>
            </a:lvl3pPr>
            <a:lvl4pPr marL="451219" indent="0">
              <a:buNone/>
              <a:defRPr/>
            </a:lvl4pPr>
            <a:lvl5pPr marL="672161" indent="0">
              <a:buNone/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14419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 1st level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2" y="1189176"/>
            <a:ext cx="5378548" cy="2377940"/>
          </a:xfrm>
        </p:spPr>
        <p:txBody>
          <a:bodyPr wrap="square">
            <a:spAutoFit/>
          </a:bodyPr>
          <a:lstStyle>
            <a:lvl1pPr marL="281623" indent="-281623">
              <a:spcBef>
                <a:spcPts val="1200"/>
              </a:spcBef>
              <a:buClr>
                <a:schemeClr val="tx2"/>
              </a:buClr>
              <a:buFont typeface="Arial" pitchFamily="34" charset="0"/>
              <a:buChar char="•"/>
              <a:defRPr sz="3136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20602" indent="-228557">
              <a:defRPr sz="2353"/>
            </a:lvl2pPr>
            <a:lvl3pPr marL="685671" indent="-165070">
              <a:tabLst/>
              <a:defRPr sz="1961"/>
            </a:lvl3pPr>
            <a:lvl4pPr marL="863437" indent="-177767">
              <a:defRPr/>
            </a:lvl4pPr>
            <a:lvl5pPr marL="1028506" indent="-165070"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2377940"/>
          </a:xfrm>
        </p:spPr>
        <p:txBody>
          <a:bodyPr wrap="square">
            <a:spAutoFit/>
          </a:bodyPr>
          <a:lstStyle>
            <a:lvl1pPr marL="281623" indent="-281623">
              <a:spcBef>
                <a:spcPts val="1200"/>
              </a:spcBef>
              <a:buClr>
                <a:schemeClr val="tx2"/>
              </a:buClr>
              <a:buFont typeface="Arial" pitchFamily="34" charset="0"/>
              <a:buChar char="•"/>
              <a:defRPr sz="3136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20602" indent="-228557">
              <a:defRPr sz="2353"/>
            </a:lvl2pPr>
            <a:lvl3pPr marL="685671" indent="-165070">
              <a:tabLst/>
              <a:defRPr sz="1961"/>
            </a:lvl3pPr>
            <a:lvl4pPr marL="863437" indent="-177767">
              <a:defRPr/>
            </a:lvl4pPr>
            <a:lvl5pPr marL="1028506" indent="-165070"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15366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2" y="1189176"/>
            <a:ext cx="5378548" cy="2377940"/>
          </a:xfrm>
        </p:spPr>
        <p:txBody>
          <a:bodyPr wrap="square">
            <a:spAutoFit/>
          </a:bodyPr>
          <a:lstStyle>
            <a:lvl1pPr marL="281623" indent="-281623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sz="3136"/>
            </a:lvl1pPr>
            <a:lvl2pPr marL="520602" indent="-228557">
              <a:defRPr sz="2353"/>
            </a:lvl2pPr>
            <a:lvl3pPr marL="685671" indent="-165070">
              <a:tabLst/>
              <a:defRPr sz="1961"/>
            </a:lvl3pPr>
            <a:lvl4pPr marL="863437" indent="-177767">
              <a:defRPr/>
            </a:lvl4pPr>
            <a:lvl5pPr marL="1028506" indent="-165070"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2377940"/>
          </a:xfrm>
        </p:spPr>
        <p:txBody>
          <a:bodyPr wrap="square">
            <a:spAutoFit/>
          </a:bodyPr>
          <a:lstStyle>
            <a:lvl1pPr marL="281623" indent="-281623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sz="3136"/>
            </a:lvl1pPr>
            <a:lvl2pPr marL="520602" indent="-228557">
              <a:defRPr sz="2353"/>
            </a:lvl2pPr>
            <a:lvl3pPr marL="685671" indent="-165070">
              <a:tabLst/>
              <a:defRPr sz="1961"/>
            </a:lvl3pPr>
            <a:lvl4pPr marL="863437" indent="-177767">
              <a:defRPr/>
            </a:lvl4pPr>
            <a:lvl5pPr marL="1028506" indent="-165070"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678570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516629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0pt Title w/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3066877"/>
            <a:ext cx="12192000" cy="724246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baseline="0"/>
            </a:lvl1pPr>
          </a:lstStyle>
          <a:p>
            <a:r>
              <a:rPr lang="en-US" dirty="0" smtClean="0"/>
              <a:t>click icon to insert photo</a:t>
            </a:r>
            <a:endParaRPr lang="en-US" dirty="0"/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69240" y="291075"/>
            <a:ext cx="10757100" cy="1108425"/>
          </a:xfrm>
          <a:prstGeom prst="rect">
            <a:avLst/>
          </a:prstGeom>
        </p:spPr>
        <p:txBody>
          <a:bodyPr lIns="146304" tIns="91440" rIns="146304" bIns="91440">
            <a:noAutofit/>
          </a:bodyPr>
          <a:lstStyle>
            <a:lvl1pPr marL="0" indent="0">
              <a:lnSpc>
                <a:spcPct val="90000"/>
              </a:lnSpc>
              <a:spcBef>
                <a:spcPts val="1173"/>
              </a:spcBef>
              <a:spcAft>
                <a:spcPts val="2355"/>
              </a:spcAft>
              <a:buFontTx/>
              <a:buNone/>
              <a:defRPr lang="en-US" sz="6863" b="0" i="0" kern="1200" spc="0" baseline="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marR="0" lvl="0" indent="0" algn="l" defTabSz="914172" rtl="0" eaLnBrk="1" fontAlgn="auto" latinLnBrk="0" hangingPunct="1">
              <a:lnSpc>
                <a:spcPct val="90000"/>
              </a:lnSpc>
              <a:spcBef>
                <a:spcPts val="1173"/>
              </a:spcBef>
              <a:spcAft>
                <a:spcPts val="2355"/>
              </a:spcAft>
              <a:buClrTx/>
              <a:buSzPct val="90000"/>
              <a:buFontTx/>
              <a:buNone/>
              <a:tabLst/>
            </a:pPr>
            <a:r>
              <a:rPr lang="en-US" dirty="0" smtClean="0"/>
              <a:t>Click to edit Master text</a:t>
            </a:r>
          </a:p>
        </p:txBody>
      </p:sp>
    </p:spTree>
    <p:extLst>
      <p:ext uri="{BB962C8B-B14F-4D97-AF65-F5344CB8AC3E}">
        <p14:creationId xmlns:p14="http://schemas.microsoft.com/office/powerpoint/2010/main" val="2737741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2" y="2084187"/>
            <a:ext cx="8964185" cy="1793090"/>
          </a:xfrm>
          <a:noFill/>
        </p:spPr>
        <p:txBody>
          <a:bodyPr lIns="146304" tIns="91440" rIns="146304" bIns="91440" anchor="t" anchorCtr="0"/>
          <a:lstStyle>
            <a:lvl1pPr>
              <a:defRPr sz="5293" spc="-98" baseline="0">
                <a:gradFill>
                  <a:gsLst>
                    <a:gs pos="100000">
                      <a:schemeClr val="tx2"/>
                    </a:gs>
                    <a:gs pos="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302" y="3878574"/>
            <a:ext cx="7171337" cy="1792326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3136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 smtClean="0"/>
              <a:t>Speaker Nam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9304" y="5853250"/>
            <a:ext cx="1956016" cy="719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73364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2-color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40" y="1189178"/>
            <a:ext cx="11653523" cy="198564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4054" indent="0">
              <a:buNone/>
              <a:defRPr/>
            </a:lvl3pPr>
            <a:lvl4pPr marL="448107" indent="0">
              <a:buNone/>
              <a:defRPr/>
            </a:lvl4pPr>
            <a:lvl5pPr marL="672161" indent="0"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930456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40" y="1189178"/>
            <a:ext cx="11653523" cy="198564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1"/>
                    </a:gs>
                    <a:gs pos="99000">
                      <a:schemeClr val="tx1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4054" indent="0">
              <a:buNone/>
              <a:defRPr/>
            </a:lvl3pPr>
            <a:lvl4pPr marL="448107" indent="0">
              <a:buNone/>
              <a:defRPr/>
            </a:lvl4pPr>
            <a:lvl5pPr marL="672161" indent="0"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134501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2-color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239" y="289511"/>
            <a:ext cx="11655840" cy="899665"/>
          </a:xfrm>
        </p:spPr>
        <p:txBody>
          <a:bodyPr/>
          <a:lstStyle>
            <a:lvl1pPr>
              <a:defRPr sz="4800"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39" y="1189176"/>
            <a:ext cx="11653523" cy="5424059"/>
          </a:xfrm>
        </p:spPr>
        <p:txBody>
          <a:bodyPr/>
          <a:lstStyle>
            <a:lvl1pPr marL="182880" indent="-182880">
              <a:buFont typeface="Arial" panose="020B0604020202020204" pitchFamily="34" charset="0"/>
              <a:buChar char="•"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  <a:latin typeface="+mj-lt"/>
              </a:defRPr>
            </a:lvl1pPr>
            <a:lvl2pPr marL="365760" indent="-182880">
              <a:buFont typeface="Arial" panose="020B0604020202020204" pitchFamily="34" charset="0"/>
              <a:buChar char="•"/>
              <a:defRPr sz="2400">
                <a:latin typeface="+mj-lt"/>
              </a:defRPr>
            </a:lvl2pPr>
            <a:lvl3pPr marL="548640" indent="-182880">
              <a:buFont typeface="Arial" panose="020B0604020202020204" pitchFamily="34" charset="0"/>
              <a:buChar char="•"/>
              <a:defRPr sz="2000">
                <a:latin typeface="+mj-lt"/>
              </a:defRPr>
            </a:lvl3pPr>
            <a:lvl4pPr marL="733943" indent="-285750">
              <a:buFont typeface="Arial" panose="020B0604020202020204" pitchFamily="34" charset="0"/>
              <a:buChar char="•"/>
              <a:defRPr/>
            </a:lvl4pPr>
            <a:lvl5pPr marL="958040" indent="-285750"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850833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1st level colo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0" y="1189177"/>
            <a:ext cx="11653523" cy="2052030"/>
          </a:xfrm>
        </p:spPr>
        <p:txBody>
          <a:bodyPr>
            <a:spAutoFit/>
          </a:bodyPr>
          <a:lstStyle>
            <a:lvl1pPr>
              <a:defRPr sz="3920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451832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0" y="1189177"/>
            <a:ext cx="11653523" cy="2052030"/>
          </a:xfrm>
        </p:spPr>
        <p:txBody>
          <a:bodyPr>
            <a:spAutoFit/>
          </a:bodyPr>
          <a:lstStyle>
            <a:lvl1pPr>
              <a:defRPr sz="3920"/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809288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2-color Non-bulle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2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6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1961"/>
            </a:lvl2pPr>
            <a:lvl3pPr marL="227165" indent="0">
              <a:buNone/>
              <a:tabLst/>
              <a:defRPr sz="1961"/>
            </a:lvl3pPr>
            <a:lvl4pPr marL="451219" indent="0">
              <a:buNone/>
              <a:defRPr/>
            </a:lvl4pPr>
            <a:lvl5pPr marL="672161" indent="0">
              <a:buNone/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6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1961"/>
            </a:lvl2pPr>
            <a:lvl3pPr marL="227165" indent="0">
              <a:buNone/>
              <a:tabLst/>
              <a:defRPr sz="1961"/>
            </a:lvl3pPr>
            <a:lvl4pPr marL="451219" indent="0">
              <a:buNone/>
              <a:defRPr/>
            </a:lvl4pPr>
            <a:lvl5pPr marL="672161" indent="0">
              <a:buNone/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981548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2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6"/>
            </a:lvl1pPr>
            <a:lvl2pPr marL="0" indent="0">
              <a:buNone/>
              <a:defRPr sz="1961"/>
            </a:lvl2pPr>
            <a:lvl3pPr marL="227165" indent="0">
              <a:buNone/>
              <a:tabLst/>
              <a:defRPr sz="1961"/>
            </a:lvl3pPr>
            <a:lvl4pPr marL="451219" indent="0">
              <a:buNone/>
              <a:defRPr/>
            </a:lvl4pPr>
            <a:lvl5pPr marL="672161" indent="0">
              <a:buNone/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6"/>
            </a:lvl1pPr>
            <a:lvl2pPr marL="0" indent="0">
              <a:buNone/>
              <a:defRPr sz="1961"/>
            </a:lvl2pPr>
            <a:lvl3pPr marL="227165" indent="0">
              <a:buNone/>
              <a:tabLst/>
              <a:defRPr sz="1961"/>
            </a:lvl3pPr>
            <a:lvl4pPr marL="451219" indent="0">
              <a:buNone/>
              <a:defRPr/>
            </a:lvl4pPr>
            <a:lvl5pPr marL="672161" indent="0">
              <a:buNone/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876236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 1st level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2" y="1189176"/>
            <a:ext cx="5378548" cy="2377940"/>
          </a:xfrm>
        </p:spPr>
        <p:txBody>
          <a:bodyPr wrap="square">
            <a:spAutoFit/>
          </a:bodyPr>
          <a:lstStyle>
            <a:lvl1pPr marL="281623" indent="-281623">
              <a:spcBef>
                <a:spcPts val="1200"/>
              </a:spcBef>
              <a:buClr>
                <a:schemeClr val="tx2"/>
              </a:buClr>
              <a:buFont typeface="Arial" pitchFamily="34" charset="0"/>
              <a:buChar char="•"/>
              <a:defRPr sz="3136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20602" indent="-228557">
              <a:defRPr sz="2353"/>
            </a:lvl2pPr>
            <a:lvl3pPr marL="685671" indent="-165070">
              <a:tabLst/>
              <a:defRPr sz="1961"/>
            </a:lvl3pPr>
            <a:lvl4pPr marL="863437" indent="-177767">
              <a:defRPr/>
            </a:lvl4pPr>
            <a:lvl5pPr marL="1028506" indent="-165070"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2377940"/>
          </a:xfrm>
        </p:spPr>
        <p:txBody>
          <a:bodyPr wrap="square">
            <a:spAutoFit/>
          </a:bodyPr>
          <a:lstStyle>
            <a:lvl1pPr marL="281623" indent="-281623">
              <a:spcBef>
                <a:spcPts val="1200"/>
              </a:spcBef>
              <a:buClr>
                <a:schemeClr val="tx2"/>
              </a:buClr>
              <a:buFont typeface="Arial" pitchFamily="34" charset="0"/>
              <a:buChar char="•"/>
              <a:defRPr sz="3136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20602" indent="-228557">
              <a:defRPr sz="2353"/>
            </a:lvl2pPr>
            <a:lvl3pPr marL="685671" indent="-165070">
              <a:tabLst/>
              <a:defRPr sz="1961"/>
            </a:lvl3pPr>
            <a:lvl4pPr marL="863437" indent="-177767">
              <a:defRPr/>
            </a:lvl4pPr>
            <a:lvl5pPr marL="1028506" indent="-165070"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750042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2" y="1189176"/>
            <a:ext cx="5378548" cy="2377940"/>
          </a:xfrm>
        </p:spPr>
        <p:txBody>
          <a:bodyPr wrap="square">
            <a:spAutoFit/>
          </a:bodyPr>
          <a:lstStyle>
            <a:lvl1pPr marL="281623" indent="-281623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sz="3136"/>
            </a:lvl1pPr>
            <a:lvl2pPr marL="520602" indent="-228557">
              <a:defRPr sz="2353"/>
            </a:lvl2pPr>
            <a:lvl3pPr marL="685671" indent="-165070">
              <a:tabLst/>
              <a:defRPr sz="1961"/>
            </a:lvl3pPr>
            <a:lvl4pPr marL="863437" indent="-177767">
              <a:defRPr/>
            </a:lvl4pPr>
            <a:lvl5pPr marL="1028506" indent="-165070"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2377940"/>
          </a:xfrm>
        </p:spPr>
        <p:txBody>
          <a:bodyPr wrap="square">
            <a:spAutoFit/>
          </a:bodyPr>
          <a:lstStyle>
            <a:lvl1pPr marL="281623" indent="-281623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sz="3136"/>
            </a:lvl1pPr>
            <a:lvl2pPr marL="520602" indent="-228557">
              <a:defRPr sz="2353"/>
            </a:lvl2pPr>
            <a:lvl3pPr marL="685671" indent="-165070">
              <a:tabLst/>
              <a:defRPr sz="1961"/>
            </a:lvl3pPr>
            <a:lvl4pPr marL="863437" indent="-177767">
              <a:defRPr/>
            </a:lvl4pPr>
            <a:lvl5pPr marL="1028506" indent="-165070"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395940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487679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1186357"/>
            <a:ext cx="9859116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6" spc="-98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Demo titl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241" y="3877277"/>
            <a:ext cx="9860674" cy="724246"/>
          </a:xfrm>
          <a:noFill/>
        </p:spPr>
        <p:txBody>
          <a:bodyPr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3136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 smtClean="0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320505362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1186357"/>
            <a:ext cx="9859116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lang="en-US" sz="7056" b="0" kern="1200" cap="none" spc="-98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 smtClean="0"/>
              <a:t>Video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3896982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084173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6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Section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903517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_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1" y="259792"/>
            <a:ext cx="11653521" cy="1075884"/>
          </a:xfrm>
        </p:spPr>
        <p:txBody>
          <a:bodyPr lIns="146304" tIns="91440" rIns="146304" bIns="91440"/>
          <a:lstStyle>
            <a:lvl1pPr>
              <a:lnSpc>
                <a:spcPts val="6176"/>
              </a:lnSpc>
              <a:defRPr sz="4800" baseline="0"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Lorem ipsum dolor sit.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269241" y="1365832"/>
            <a:ext cx="4358791" cy="4949771"/>
          </a:xfrm>
        </p:spPr>
        <p:txBody>
          <a:bodyPr wrap="square">
            <a:noAutofit/>
          </a:bodyPr>
          <a:lstStyle>
            <a:lvl1pPr marL="182880" indent="-18288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3200">
                <a:solidFill>
                  <a:schemeClr val="accent1"/>
                </a:solidFill>
                <a:latin typeface="+mj-lt"/>
              </a:defRPr>
            </a:lvl1pPr>
            <a:lvl2pPr marL="36576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2400">
                <a:latin typeface="+mj-lt"/>
              </a:defRPr>
            </a:lvl2pPr>
            <a:lvl3pPr marL="570109" indent="-34290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2000">
                <a:latin typeface="+mj-lt"/>
              </a:defRPr>
            </a:lvl3pPr>
            <a:lvl4pPr marL="737056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 marL="958040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2" hasCustomPrompt="1"/>
          </p:nvPr>
        </p:nvSpPr>
        <p:spPr>
          <a:xfrm>
            <a:off x="4628199" y="1335676"/>
            <a:ext cx="7294563" cy="4949353"/>
          </a:xfrm>
          <a:ln w="152400">
            <a:noFill/>
          </a:ln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Screen shot or image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12427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084173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6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Section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8999795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084173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6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Section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1721620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3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084173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6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Section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334978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670415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0000238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8096083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3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2653355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 smtClean="0"/>
              <a:t>Slide for developer code</a:t>
            </a:r>
            <a:endParaRPr lang="en-US" dirty="0"/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1" y="1189176"/>
            <a:ext cx="12192000" cy="5668824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15" tIns="45715" rIns="45715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927" fontAlgn="base">
              <a:spcBef>
                <a:spcPct val="0"/>
              </a:spcBef>
              <a:spcAft>
                <a:spcPct val="0"/>
              </a:spcAft>
            </a:pPr>
            <a:endParaRPr lang="en-US" sz="1765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69239" y="1197323"/>
            <a:ext cx="11653522" cy="1956973"/>
          </a:xfrm>
        </p:spPr>
        <p:txBody>
          <a:bodyPr/>
          <a:lstStyle>
            <a:lvl1pPr marL="0" indent="0">
              <a:buNone/>
              <a:defRPr sz="3234"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39661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72979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798362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30094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919946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50204" y="3083652"/>
            <a:ext cx="3227129" cy="692057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50204" y="3083652"/>
            <a:ext cx="3227129" cy="692057"/>
          </a:xfrm>
          <a:prstGeom prst="rect">
            <a:avLst/>
          </a:prstGeom>
        </p:spPr>
      </p:pic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69239" y="6171617"/>
            <a:ext cx="11653522" cy="39531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79259" tIns="143407" rIns="179259" bIns="143407" numCol="1" anchor="t" anchorCtr="0" compatLnSpc="1">
            <a:prstTxWarp prst="textNoShape">
              <a:avLst/>
            </a:prstTxWarp>
            <a:spAutoFit/>
          </a:bodyPr>
          <a:lstStyle/>
          <a:p>
            <a:pPr defTabSz="913748" eaLnBrk="0" hangingPunct="0"/>
            <a:r>
              <a:rPr lang="en-US" sz="686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0"/>
                </a:gradFill>
                <a:cs typeface="Segoe UI" pitchFamily="34" charset="0"/>
              </a:rPr>
              <a:t>© 2014 Microsoft Corporation. All rights reserved. </a:t>
            </a:r>
          </a:p>
        </p:txBody>
      </p:sp>
    </p:spTree>
    <p:extLst>
      <p:ext uri="{BB962C8B-B14F-4D97-AF65-F5344CB8AC3E}">
        <p14:creationId xmlns:p14="http://schemas.microsoft.com/office/powerpoint/2010/main" val="28712215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69240" y="1189178"/>
            <a:ext cx="11653523" cy="2396047"/>
          </a:xfrm>
          <a:prstGeom prst="rect">
            <a:avLst/>
          </a:prstGeom>
        </p:spPr>
        <p:txBody>
          <a:bodyPr/>
          <a:lstStyle>
            <a:lvl1pPr marL="284735" indent="-284735">
              <a:buClr>
                <a:schemeClr val="tx1"/>
              </a:buClr>
              <a:buSzPct val="90000"/>
              <a:buFont typeface="Arial" pitchFamily="34" charset="0"/>
              <a:buChar char="•"/>
              <a:defRPr sz="3528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60134" indent="-275401">
              <a:buClr>
                <a:schemeClr val="tx1"/>
              </a:buClr>
              <a:buSzPct val="90000"/>
              <a:buFont typeface="Arial" pitchFamily="34" charset="0"/>
              <a:buChar char="•"/>
              <a:defRPr sz="3136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44869" indent="-284735">
              <a:buClr>
                <a:schemeClr val="tx1"/>
              </a:buClr>
              <a:buSzPct val="90000"/>
              <a:buFont typeface="Arial" pitchFamily="34" charset="0"/>
              <a:buChar char="•"/>
              <a:defRPr sz="2745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68923" indent="-224054">
              <a:buClr>
                <a:schemeClr val="tx1"/>
              </a:buClr>
              <a:buSzPct val="90000"/>
              <a:buFont typeface="Arial" pitchFamily="34" charset="0"/>
              <a:buChar char="•"/>
              <a:defRPr sz="2353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292976" indent="-224054">
              <a:buClr>
                <a:schemeClr val="tx1"/>
              </a:buClr>
              <a:buSzPct val="90000"/>
              <a:buFont typeface="Arial" pitchFamily="34" charset="0"/>
              <a:buChar char="•"/>
              <a:defRPr sz="1961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 smtClean="0"/>
              <a:t>Use this Layout for Speaker Notes slid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2" y="6238876"/>
            <a:ext cx="12192001" cy="619125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626" spc="-50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 smtClean="0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386831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Co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1" y="259792"/>
            <a:ext cx="11653521" cy="1075884"/>
          </a:xfrm>
        </p:spPr>
        <p:txBody>
          <a:bodyPr lIns="146304" tIns="91440" rIns="146304" bIns="91440"/>
          <a:lstStyle>
            <a:lvl1pPr>
              <a:lnSpc>
                <a:spcPts val="6176"/>
              </a:lnSpc>
              <a:defRPr sz="4800" baseline="0"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Lorem ipsum dolor sit.</a:t>
            </a:r>
            <a:endParaRPr lang="en-US" dirty="0"/>
          </a:p>
        </p:txBody>
      </p:sp>
      <p:sp>
        <p:nvSpPr>
          <p:cNvPr id="3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824549" y="1446341"/>
            <a:ext cx="7210697" cy="5040206"/>
          </a:xfrm>
          <a:solidFill>
            <a:schemeClr val="bg1"/>
          </a:solidFill>
          <a:ln w="152400">
            <a:solidFill>
              <a:schemeClr val="accent1"/>
            </a:solidFill>
          </a:ln>
        </p:spPr>
        <p:txBody>
          <a:bodyPr wrap="square">
            <a:normAutofit/>
          </a:bodyPr>
          <a:lstStyle>
            <a:lvl1pPr marL="0" indent="0" defTabSz="365760">
              <a:lnSpc>
                <a:spcPct val="100000"/>
              </a:lnSpc>
              <a:spcBef>
                <a:spcPts val="0"/>
              </a:spcBef>
              <a:buClr>
                <a:schemeClr val="tx1"/>
              </a:buClr>
              <a:buFont typeface="Wingdings" pitchFamily="2" charset="2"/>
              <a:buNone/>
              <a:defRPr sz="1600" baseline="0">
                <a:solidFill>
                  <a:schemeClr val="accent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65760" indent="0" defTabSz="365760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accent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731520" indent="0" defTabSz="365760">
              <a:lnSpc>
                <a:spcPct val="100000"/>
              </a:lnSpc>
              <a:spcBef>
                <a:spcPts val="0"/>
              </a:spcBef>
              <a:buNone/>
              <a:tabLst/>
              <a:defRPr sz="1600">
                <a:solidFill>
                  <a:schemeClr val="accent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1097280" indent="0" defTabSz="365760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accent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463040" indent="0" defTabSz="365760">
              <a:lnSpc>
                <a:spcPct val="100000"/>
              </a:lnSpc>
              <a:spcBef>
                <a:spcPts val="0"/>
              </a:spcBef>
              <a:buNone/>
              <a:tabLst/>
              <a:defRPr sz="1600">
                <a:solidFill>
                  <a:schemeClr val="accent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 dirty="0" smtClean="0"/>
              <a:t>Click to edit code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269241" y="1335676"/>
            <a:ext cx="4358791" cy="5249851"/>
          </a:xfrm>
        </p:spPr>
        <p:txBody>
          <a:bodyPr wrap="square">
            <a:noAutofit/>
          </a:bodyPr>
          <a:lstStyle>
            <a:lvl1pPr marL="182880" indent="-18288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3200">
                <a:solidFill>
                  <a:schemeClr val="accent1"/>
                </a:solidFill>
              </a:defRPr>
            </a:lvl1pPr>
            <a:lvl2pPr marL="36576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2400"/>
            </a:lvl2pPr>
            <a:lvl3pPr marL="54864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961"/>
            </a:lvl3pPr>
            <a:lvl4pPr marL="737056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 marL="958040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5944152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Data Insights Titl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69239" y="2031023"/>
            <a:ext cx="10258286" cy="1686801"/>
          </a:xfrm>
          <a:prstGeom prst="rect">
            <a:avLst/>
          </a:prstGeom>
        </p:spPr>
        <p:txBody>
          <a:bodyPr lIns="146304" tIns="91440" rIns="146304" bIns="91440"/>
          <a:lstStyle>
            <a:lvl1pPr algn="l">
              <a:defRPr sz="588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Data insights headli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522445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68927" y="286381"/>
            <a:ext cx="11653523" cy="927940"/>
          </a:xfrm>
          <a:prstGeom prst="rect">
            <a:avLst/>
          </a:prstGeom>
        </p:spPr>
        <p:txBody>
          <a:bodyPr lIns="146304" tIns="91440" rIns="146304" bIns="91440"/>
          <a:lstStyle>
            <a:lvl1pPr algn="l">
              <a:defRPr>
                <a:gradFill>
                  <a:gsLst>
                    <a:gs pos="2917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0" name="Title"/>
          <p:cNvSpPr>
            <a:spLocks noGrp="1"/>
          </p:cNvSpPr>
          <p:nvPr>
            <p:ph type="body" sz="quarter" idx="10" hasCustomPrompt="1"/>
          </p:nvPr>
        </p:nvSpPr>
        <p:spPr>
          <a:xfrm>
            <a:off x="269239" y="2084175"/>
            <a:ext cx="9860673" cy="24348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267">
                <a:gradFill>
                  <a:gsLst>
                    <a:gs pos="2917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  <a:latin typeface="+mj-lt"/>
              </a:defRPr>
            </a:lvl1pPr>
            <a:lvl2pPr>
              <a:defRPr>
                <a:latin typeface="+mj-lt"/>
              </a:defRPr>
            </a:lvl2pPr>
            <a:lvl3pPr>
              <a:defRPr>
                <a:latin typeface="+mj-lt"/>
              </a:defRPr>
            </a:lvl3pPr>
            <a:lvl4pPr>
              <a:defRPr>
                <a:latin typeface="+mj-lt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en-US" dirty="0" smtClean="0"/>
              <a:t>Demo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501681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0pt Title w/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3066877"/>
            <a:ext cx="12192000" cy="724246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baseline="0"/>
            </a:lvl1pPr>
          </a:lstStyle>
          <a:p>
            <a:r>
              <a:rPr lang="en-US" dirty="0" smtClean="0"/>
              <a:t>click icon to insert photo</a:t>
            </a:r>
            <a:endParaRPr lang="en-US" dirty="0"/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69240" y="291075"/>
            <a:ext cx="10757100" cy="1108425"/>
          </a:xfrm>
          <a:prstGeom prst="rect">
            <a:avLst/>
          </a:prstGeom>
        </p:spPr>
        <p:txBody>
          <a:bodyPr lIns="146304" tIns="91440" rIns="146304" bIns="91440">
            <a:noAutofit/>
          </a:bodyPr>
          <a:lstStyle>
            <a:lvl1pPr marL="0" indent="0">
              <a:lnSpc>
                <a:spcPct val="90000"/>
              </a:lnSpc>
              <a:spcBef>
                <a:spcPts val="1173"/>
              </a:spcBef>
              <a:spcAft>
                <a:spcPts val="2355"/>
              </a:spcAft>
              <a:buFontTx/>
              <a:buNone/>
              <a:defRPr lang="en-US" sz="6863" b="0" i="0" kern="1200" spc="0" baseline="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marR="0" lvl="0" indent="0" algn="l" defTabSz="914172" rtl="0" eaLnBrk="1" fontAlgn="auto" latinLnBrk="0" hangingPunct="1">
              <a:lnSpc>
                <a:spcPct val="90000"/>
              </a:lnSpc>
              <a:spcBef>
                <a:spcPts val="1173"/>
              </a:spcBef>
              <a:spcAft>
                <a:spcPts val="2355"/>
              </a:spcAft>
              <a:buClrTx/>
              <a:buSzPct val="90000"/>
              <a:buFontTx/>
              <a:buNone/>
              <a:tabLst/>
            </a:pPr>
            <a:r>
              <a:rPr lang="en-US" dirty="0" smtClean="0"/>
              <a:t>Click to edit Master text</a:t>
            </a:r>
          </a:p>
        </p:txBody>
      </p:sp>
    </p:spTree>
    <p:extLst>
      <p:ext uri="{BB962C8B-B14F-4D97-AF65-F5344CB8AC3E}">
        <p14:creationId xmlns:p14="http://schemas.microsoft.com/office/powerpoint/2010/main" val="21362838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2" y="2084187"/>
            <a:ext cx="8964185" cy="1793090"/>
          </a:xfrm>
          <a:noFill/>
        </p:spPr>
        <p:txBody>
          <a:bodyPr lIns="146304" tIns="91440" rIns="146304" bIns="91440" anchor="t" anchorCtr="0"/>
          <a:lstStyle>
            <a:lvl1pPr>
              <a:defRPr sz="5293" spc="-98" baseline="0">
                <a:gradFill>
                  <a:gsLst>
                    <a:gs pos="100000">
                      <a:schemeClr val="tx2"/>
                    </a:gs>
                    <a:gs pos="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302" y="3878574"/>
            <a:ext cx="7171337" cy="1792326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3136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 smtClean="0"/>
              <a:t>Speaker Nam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9304" y="5853250"/>
            <a:ext cx="1956016" cy="719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20672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2-color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40" y="1189178"/>
            <a:ext cx="11653523" cy="198564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4054" indent="0">
              <a:buNone/>
              <a:defRPr/>
            </a:lvl3pPr>
            <a:lvl4pPr marL="448107" indent="0">
              <a:buNone/>
              <a:defRPr/>
            </a:lvl4pPr>
            <a:lvl5pPr marL="672161" indent="0"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459884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40" y="1189178"/>
            <a:ext cx="11653523" cy="198564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1"/>
                    </a:gs>
                    <a:gs pos="99000">
                      <a:schemeClr val="tx1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4054" indent="0">
              <a:buNone/>
              <a:defRPr/>
            </a:lvl3pPr>
            <a:lvl4pPr marL="448107" indent="0">
              <a:buNone/>
              <a:defRPr/>
            </a:lvl4pPr>
            <a:lvl5pPr marL="672161" indent="0"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11831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1st level colo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0" y="1189177"/>
            <a:ext cx="11653523" cy="2052030"/>
          </a:xfrm>
        </p:spPr>
        <p:txBody>
          <a:bodyPr>
            <a:spAutoFit/>
          </a:bodyPr>
          <a:lstStyle>
            <a:lvl1pPr>
              <a:defRPr sz="3920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13134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0" y="1189177"/>
            <a:ext cx="11653523" cy="2052030"/>
          </a:xfrm>
        </p:spPr>
        <p:txBody>
          <a:bodyPr>
            <a:spAutoFit/>
          </a:bodyPr>
          <a:lstStyle>
            <a:lvl1pPr>
              <a:defRPr sz="3920"/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09252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2-color Non-bulle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2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6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1961"/>
            </a:lvl2pPr>
            <a:lvl3pPr marL="227165" indent="0">
              <a:buNone/>
              <a:tabLst/>
              <a:defRPr sz="1961"/>
            </a:lvl3pPr>
            <a:lvl4pPr marL="451219" indent="0">
              <a:buNone/>
              <a:defRPr/>
            </a:lvl4pPr>
            <a:lvl5pPr marL="672161" indent="0">
              <a:buNone/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6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1961"/>
            </a:lvl2pPr>
            <a:lvl3pPr marL="227165" indent="0">
              <a:buNone/>
              <a:tabLst/>
              <a:defRPr sz="1961"/>
            </a:lvl3pPr>
            <a:lvl4pPr marL="451219" indent="0">
              <a:buNone/>
              <a:defRPr/>
            </a:lvl4pPr>
            <a:lvl5pPr marL="672161" indent="0">
              <a:buNone/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704556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2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6"/>
            </a:lvl1pPr>
            <a:lvl2pPr marL="0" indent="0">
              <a:buNone/>
              <a:defRPr sz="1961"/>
            </a:lvl2pPr>
            <a:lvl3pPr marL="227165" indent="0">
              <a:buNone/>
              <a:tabLst/>
              <a:defRPr sz="1961"/>
            </a:lvl3pPr>
            <a:lvl4pPr marL="451219" indent="0">
              <a:buNone/>
              <a:defRPr/>
            </a:lvl4pPr>
            <a:lvl5pPr marL="672161" indent="0">
              <a:buNone/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6"/>
            </a:lvl1pPr>
            <a:lvl2pPr marL="0" indent="0">
              <a:buNone/>
              <a:defRPr sz="1961"/>
            </a:lvl2pPr>
            <a:lvl3pPr marL="227165" indent="0">
              <a:buNone/>
              <a:tabLst/>
              <a:defRPr sz="1961"/>
            </a:lvl3pPr>
            <a:lvl4pPr marL="451219" indent="0">
              <a:buNone/>
              <a:defRPr/>
            </a:lvl4pPr>
            <a:lvl5pPr marL="672161" indent="0">
              <a:buNone/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41400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17437" y="146443"/>
            <a:ext cx="3876675" cy="4557229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6000" b="1"/>
            </a:lvl1pPr>
          </a:lstStyle>
          <a:p>
            <a:pPr lvl="0"/>
            <a:r>
              <a:rPr lang="en-US" dirty="0" smtClean="0"/>
              <a:t>AGENDA</a:t>
            </a:r>
          </a:p>
          <a:p>
            <a:pPr lvl="1"/>
            <a:r>
              <a:rPr lang="en-US" dirty="0" smtClean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8296441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 1st level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2" y="1189176"/>
            <a:ext cx="5378548" cy="2377940"/>
          </a:xfrm>
        </p:spPr>
        <p:txBody>
          <a:bodyPr wrap="square">
            <a:spAutoFit/>
          </a:bodyPr>
          <a:lstStyle>
            <a:lvl1pPr marL="281623" indent="-281623">
              <a:spcBef>
                <a:spcPts val="1200"/>
              </a:spcBef>
              <a:buClr>
                <a:schemeClr val="tx2"/>
              </a:buClr>
              <a:buFont typeface="Arial" pitchFamily="34" charset="0"/>
              <a:buChar char="•"/>
              <a:defRPr sz="3136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20602" indent="-228557">
              <a:defRPr sz="2353"/>
            </a:lvl2pPr>
            <a:lvl3pPr marL="685671" indent="-165070">
              <a:tabLst/>
              <a:defRPr sz="1961"/>
            </a:lvl3pPr>
            <a:lvl4pPr marL="863437" indent="-177767">
              <a:defRPr/>
            </a:lvl4pPr>
            <a:lvl5pPr marL="1028506" indent="-165070"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2377940"/>
          </a:xfrm>
        </p:spPr>
        <p:txBody>
          <a:bodyPr wrap="square">
            <a:spAutoFit/>
          </a:bodyPr>
          <a:lstStyle>
            <a:lvl1pPr marL="281623" indent="-281623">
              <a:spcBef>
                <a:spcPts val="1200"/>
              </a:spcBef>
              <a:buClr>
                <a:schemeClr val="tx2"/>
              </a:buClr>
              <a:buFont typeface="Arial" pitchFamily="34" charset="0"/>
              <a:buChar char="•"/>
              <a:defRPr sz="3136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20602" indent="-228557">
              <a:defRPr sz="2353"/>
            </a:lvl2pPr>
            <a:lvl3pPr marL="685671" indent="-165070">
              <a:tabLst/>
              <a:defRPr sz="1961"/>
            </a:lvl3pPr>
            <a:lvl4pPr marL="863437" indent="-177767">
              <a:defRPr/>
            </a:lvl4pPr>
            <a:lvl5pPr marL="1028506" indent="-165070"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031005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2" y="1189176"/>
            <a:ext cx="5378548" cy="2377940"/>
          </a:xfrm>
        </p:spPr>
        <p:txBody>
          <a:bodyPr wrap="square">
            <a:spAutoFit/>
          </a:bodyPr>
          <a:lstStyle>
            <a:lvl1pPr marL="281623" indent="-281623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sz="3136"/>
            </a:lvl1pPr>
            <a:lvl2pPr marL="520602" indent="-228557">
              <a:defRPr sz="2353"/>
            </a:lvl2pPr>
            <a:lvl3pPr marL="685671" indent="-165070">
              <a:tabLst/>
              <a:defRPr sz="1961"/>
            </a:lvl3pPr>
            <a:lvl4pPr marL="863437" indent="-177767">
              <a:defRPr/>
            </a:lvl4pPr>
            <a:lvl5pPr marL="1028506" indent="-165070"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2377940"/>
          </a:xfrm>
        </p:spPr>
        <p:txBody>
          <a:bodyPr wrap="square">
            <a:spAutoFit/>
          </a:bodyPr>
          <a:lstStyle>
            <a:lvl1pPr marL="281623" indent="-281623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sz="3136"/>
            </a:lvl1pPr>
            <a:lvl2pPr marL="520602" indent="-228557">
              <a:defRPr sz="2353"/>
            </a:lvl2pPr>
            <a:lvl3pPr marL="685671" indent="-165070">
              <a:tabLst/>
              <a:defRPr sz="1961"/>
            </a:lvl3pPr>
            <a:lvl4pPr marL="863437" indent="-177767">
              <a:defRPr/>
            </a:lvl4pPr>
            <a:lvl5pPr marL="1028506" indent="-165070"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177052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666507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1186357"/>
            <a:ext cx="9859116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6" spc="-98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Demo titl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241" y="3877277"/>
            <a:ext cx="9860674" cy="724246"/>
          </a:xfrm>
          <a:noFill/>
        </p:spPr>
        <p:txBody>
          <a:bodyPr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3136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 smtClean="0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56851988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1186357"/>
            <a:ext cx="9859116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lang="en-US" sz="7056" b="0" kern="1200" cap="none" spc="-98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 smtClean="0"/>
              <a:t>Video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1766311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084173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6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Section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752576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084173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6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Section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4182025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084173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6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Section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6347090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3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084173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6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Section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1530246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283069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 Sectio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" name="Title 96"/>
          <p:cNvSpPr>
            <a:spLocks noGrp="1"/>
          </p:cNvSpPr>
          <p:nvPr>
            <p:ph type="title"/>
          </p:nvPr>
        </p:nvSpPr>
        <p:spPr>
          <a:xfrm>
            <a:off x="269240" y="289511"/>
            <a:ext cx="4487487" cy="4430271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9240" y="5394960"/>
            <a:ext cx="1463040" cy="14630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3123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492941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7026772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3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4734562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 smtClean="0"/>
              <a:t>Slide for developer code</a:t>
            </a:r>
            <a:endParaRPr lang="en-US" dirty="0"/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1" y="1189176"/>
            <a:ext cx="12192000" cy="5668824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15" tIns="45715" rIns="45715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927" fontAlgn="base">
              <a:spcBef>
                <a:spcPct val="0"/>
              </a:spcBef>
              <a:spcAft>
                <a:spcPct val="0"/>
              </a:spcAft>
            </a:pPr>
            <a:endParaRPr lang="en-US" sz="1765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69239" y="1197323"/>
            <a:ext cx="11653522" cy="1956973"/>
          </a:xfrm>
        </p:spPr>
        <p:txBody>
          <a:bodyPr/>
          <a:lstStyle>
            <a:lvl1pPr marL="0" indent="0">
              <a:buNone/>
              <a:defRPr sz="3234"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39661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72979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798362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30094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26848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50204" y="3083652"/>
            <a:ext cx="3227129" cy="692057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50204" y="3083652"/>
            <a:ext cx="3227129" cy="692057"/>
          </a:xfrm>
          <a:prstGeom prst="rect">
            <a:avLst/>
          </a:prstGeom>
        </p:spPr>
      </p:pic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69239" y="6171617"/>
            <a:ext cx="11653522" cy="39531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79259" tIns="143407" rIns="179259" bIns="143407" numCol="1" anchor="t" anchorCtr="0" compatLnSpc="1">
            <a:prstTxWarp prst="textNoShape">
              <a:avLst/>
            </a:prstTxWarp>
            <a:spAutoFit/>
          </a:bodyPr>
          <a:lstStyle/>
          <a:p>
            <a:pPr defTabSz="913748" eaLnBrk="0" hangingPunct="0"/>
            <a:r>
              <a:rPr lang="en-US" sz="686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0"/>
                </a:gradFill>
                <a:cs typeface="Segoe UI" pitchFamily="34" charset="0"/>
              </a:rPr>
              <a:t>© 2014 Microsoft Corporation. All rights reserved. </a:t>
            </a:r>
          </a:p>
        </p:txBody>
      </p:sp>
    </p:spTree>
    <p:extLst>
      <p:ext uri="{BB962C8B-B14F-4D97-AF65-F5344CB8AC3E}">
        <p14:creationId xmlns:p14="http://schemas.microsoft.com/office/powerpoint/2010/main" val="17727626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69240" y="1189178"/>
            <a:ext cx="11653523" cy="2396047"/>
          </a:xfrm>
          <a:prstGeom prst="rect">
            <a:avLst/>
          </a:prstGeom>
        </p:spPr>
        <p:txBody>
          <a:bodyPr/>
          <a:lstStyle>
            <a:lvl1pPr marL="284735" indent="-284735">
              <a:buClr>
                <a:schemeClr val="tx1"/>
              </a:buClr>
              <a:buSzPct val="90000"/>
              <a:buFont typeface="Arial" pitchFamily="34" charset="0"/>
              <a:buChar char="•"/>
              <a:defRPr sz="3528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60134" indent="-275401">
              <a:buClr>
                <a:schemeClr val="tx1"/>
              </a:buClr>
              <a:buSzPct val="90000"/>
              <a:buFont typeface="Arial" pitchFamily="34" charset="0"/>
              <a:buChar char="•"/>
              <a:defRPr sz="3136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44869" indent="-284735">
              <a:buClr>
                <a:schemeClr val="tx1"/>
              </a:buClr>
              <a:buSzPct val="90000"/>
              <a:buFont typeface="Arial" pitchFamily="34" charset="0"/>
              <a:buChar char="•"/>
              <a:defRPr sz="2745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68923" indent="-224054">
              <a:buClr>
                <a:schemeClr val="tx1"/>
              </a:buClr>
              <a:buSzPct val="90000"/>
              <a:buFont typeface="Arial" pitchFamily="34" charset="0"/>
              <a:buChar char="•"/>
              <a:defRPr sz="2353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292976" indent="-224054">
              <a:buClr>
                <a:schemeClr val="tx1"/>
              </a:buClr>
              <a:buSzPct val="90000"/>
              <a:buFont typeface="Arial" pitchFamily="34" charset="0"/>
              <a:buChar char="•"/>
              <a:defRPr sz="1961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 smtClean="0"/>
              <a:t>Use this Layout for Speaker Notes slid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2" y="6238876"/>
            <a:ext cx="12192001" cy="619125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626" spc="-50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 smtClean="0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8810780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Data Insights Titl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69239" y="2031023"/>
            <a:ext cx="10258286" cy="1686801"/>
          </a:xfrm>
          <a:prstGeom prst="rect">
            <a:avLst/>
          </a:prstGeom>
        </p:spPr>
        <p:txBody>
          <a:bodyPr lIns="146304" tIns="91440" rIns="146304" bIns="91440"/>
          <a:lstStyle>
            <a:lvl1pPr algn="l">
              <a:defRPr sz="588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Data insights headli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257747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68927" y="286381"/>
            <a:ext cx="11653523" cy="927940"/>
          </a:xfrm>
          <a:prstGeom prst="rect">
            <a:avLst/>
          </a:prstGeom>
        </p:spPr>
        <p:txBody>
          <a:bodyPr lIns="146304" tIns="91440" rIns="146304" bIns="91440"/>
          <a:lstStyle>
            <a:lvl1pPr algn="l">
              <a:defRPr>
                <a:gradFill>
                  <a:gsLst>
                    <a:gs pos="2917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0" name="Title"/>
          <p:cNvSpPr>
            <a:spLocks noGrp="1"/>
          </p:cNvSpPr>
          <p:nvPr>
            <p:ph type="body" sz="quarter" idx="10" hasCustomPrompt="1"/>
          </p:nvPr>
        </p:nvSpPr>
        <p:spPr>
          <a:xfrm>
            <a:off x="269239" y="2084175"/>
            <a:ext cx="9860673" cy="24348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267">
                <a:gradFill>
                  <a:gsLst>
                    <a:gs pos="2917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  <a:latin typeface="+mj-lt"/>
              </a:defRPr>
            </a:lvl1pPr>
            <a:lvl2pPr>
              <a:defRPr>
                <a:latin typeface="+mj-lt"/>
              </a:defRPr>
            </a:lvl2pPr>
            <a:lvl3pPr>
              <a:defRPr>
                <a:latin typeface="+mj-lt"/>
              </a:defRPr>
            </a:lvl3pPr>
            <a:lvl4pPr>
              <a:defRPr>
                <a:latin typeface="+mj-lt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en-US" dirty="0" smtClean="0"/>
              <a:t>Demo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296894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0pt Title w/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3066877"/>
            <a:ext cx="12192000" cy="724246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baseline="0"/>
            </a:lvl1pPr>
          </a:lstStyle>
          <a:p>
            <a:r>
              <a:rPr lang="en-US" dirty="0" smtClean="0"/>
              <a:t>click icon to insert photo</a:t>
            </a:r>
            <a:endParaRPr lang="en-US" dirty="0"/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69240" y="291075"/>
            <a:ext cx="10757100" cy="1108425"/>
          </a:xfrm>
          <a:prstGeom prst="rect">
            <a:avLst/>
          </a:prstGeom>
        </p:spPr>
        <p:txBody>
          <a:bodyPr lIns="146304" tIns="91440" rIns="146304" bIns="91440">
            <a:noAutofit/>
          </a:bodyPr>
          <a:lstStyle>
            <a:lvl1pPr marL="0" indent="0">
              <a:lnSpc>
                <a:spcPct val="90000"/>
              </a:lnSpc>
              <a:spcBef>
                <a:spcPts val="1173"/>
              </a:spcBef>
              <a:spcAft>
                <a:spcPts val="2355"/>
              </a:spcAft>
              <a:buFontTx/>
              <a:buNone/>
              <a:defRPr lang="en-US" sz="6863" b="0" i="0" kern="1200" spc="0" baseline="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marR="0" lvl="0" indent="0" algn="l" defTabSz="914172" rtl="0" eaLnBrk="1" fontAlgn="auto" latinLnBrk="0" hangingPunct="1">
              <a:lnSpc>
                <a:spcPct val="90000"/>
              </a:lnSpc>
              <a:spcBef>
                <a:spcPts val="1173"/>
              </a:spcBef>
              <a:spcAft>
                <a:spcPts val="2355"/>
              </a:spcAft>
              <a:buClrTx/>
              <a:buSzPct val="90000"/>
              <a:buFontTx/>
              <a:buNone/>
              <a:tabLst/>
            </a:pPr>
            <a:r>
              <a:rPr lang="en-US" dirty="0" smtClean="0"/>
              <a:t>Click to edit Master text</a:t>
            </a:r>
          </a:p>
        </p:txBody>
      </p:sp>
    </p:spTree>
    <p:extLst>
      <p:ext uri="{BB962C8B-B14F-4D97-AF65-F5344CB8AC3E}">
        <p14:creationId xmlns:p14="http://schemas.microsoft.com/office/powerpoint/2010/main" val="33621928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 No t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2"/>
            <a:ext cx="12190264" cy="6857996"/>
          </a:xfrm>
          <a:prstGeom prst="rect">
            <a:avLst/>
          </a:prstGeom>
        </p:spPr>
      </p:pic>
      <p:sp>
        <p:nvSpPr>
          <p:cNvPr id="2" name="Rectangle 1"/>
          <p:cNvSpPr/>
          <p:nvPr userDrawn="1"/>
        </p:nvSpPr>
        <p:spPr bwMode="auto">
          <a:xfrm>
            <a:off x="269239" y="2077800"/>
            <a:ext cx="6274974" cy="2696029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08" tIns="143366" rIns="179208" bIns="14336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576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269239" y="2104755"/>
            <a:ext cx="6276530" cy="875413"/>
          </a:xfrm>
          <a:noFill/>
        </p:spPr>
        <p:txBody>
          <a:bodyPr lIns="146304" tIns="91440" rIns="146304" bIns="91440" anchor="t" anchorCtr="0"/>
          <a:lstStyle>
            <a:lvl1pPr>
              <a:defRPr sz="5291" spc="-98" baseline="0">
                <a:gradFill>
                  <a:gsLst>
                    <a:gs pos="84066">
                      <a:srgbClr val="000000"/>
                    </a:gs>
                    <a:gs pos="57576">
                      <a:srgbClr val="000000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Event name he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269239" y="3007119"/>
            <a:ext cx="6276530" cy="1677043"/>
          </a:xfrm>
        </p:spPr>
        <p:txBody>
          <a:bodyPr tIns="109728" bIns="109728">
            <a:noAutofit/>
          </a:bodyPr>
          <a:lstStyle>
            <a:lvl1pPr marL="0" indent="0">
              <a:spcBef>
                <a:spcPts val="0"/>
              </a:spcBef>
              <a:buNone/>
              <a:defRPr sz="2353" baseline="0">
                <a:gradFill>
                  <a:gsLst>
                    <a:gs pos="84066">
                      <a:srgbClr val="000000"/>
                    </a:gs>
                    <a:gs pos="57576">
                      <a:srgbClr val="000000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 smtClean="0"/>
              <a:t>City | Dat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48588" y="6121376"/>
            <a:ext cx="1254995" cy="269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4420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A Sectio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" name="Title 96"/>
          <p:cNvSpPr>
            <a:spLocks noGrp="1"/>
          </p:cNvSpPr>
          <p:nvPr>
            <p:ph type="title"/>
          </p:nvPr>
        </p:nvSpPr>
        <p:spPr>
          <a:xfrm>
            <a:off x="269240" y="289511"/>
            <a:ext cx="4487487" cy="4430271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9240" y="5394960"/>
            <a:ext cx="1463040" cy="14630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98005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2"/>
            <a:ext cx="12190264" cy="6857996"/>
          </a:xfrm>
          <a:prstGeom prst="rect">
            <a:avLst/>
          </a:prstGeom>
        </p:spPr>
      </p:pic>
      <p:sp>
        <p:nvSpPr>
          <p:cNvPr id="2" name="Rectangle 1"/>
          <p:cNvSpPr/>
          <p:nvPr userDrawn="1"/>
        </p:nvSpPr>
        <p:spPr bwMode="auto">
          <a:xfrm>
            <a:off x="269239" y="2077800"/>
            <a:ext cx="6274974" cy="2696029"/>
          </a:xfrm>
          <a:prstGeom prst="rect">
            <a:avLst/>
          </a:prstGeom>
          <a:solidFill>
            <a:schemeClr val="accent1">
              <a:alpha val="9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08" tIns="143366" rIns="179208" bIns="14336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576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269302" y="2077814"/>
            <a:ext cx="6276530" cy="1978764"/>
          </a:xfrm>
          <a:noFill/>
        </p:spPr>
        <p:txBody>
          <a:bodyPr lIns="146304" tIns="91440" rIns="146304" bIns="91440" anchor="t" anchorCtr="0"/>
          <a:lstStyle>
            <a:lvl1pPr>
              <a:defRPr sz="5291" spc="-98" baseline="0">
                <a:gradFill>
                  <a:gsLst>
                    <a:gs pos="57576">
                      <a:srgbClr val="FFFFFF"/>
                    </a:gs>
                    <a:gs pos="35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Event name he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267683" y="4056579"/>
            <a:ext cx="6276530" cy="717249"/>
          </a:xfrm>
        </p:spPr>
        <p:txBody>
          <a:bodyPr tIns="109728" bIns="109728">
            <a:noAutofit/>
          </a:bodyPr>
          <a:lstStyle>
            <a:lvl1pPr marL="0" indent="0">
              <a:spcBef>
                <a:spcPts val="0"/>
              </a:spcBef>
              <a:buNone/>
              <a:defRPr sz="2353">
                <a:gradFill>
                  <a:gsLst>
                    <a:gs pos="57576">
                      <a:srgbClr val="FFFFFF"/>
                    </a:gs>
                    <a:gs pos="35000">
                      <a:srgbClr val="FFFFFF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 smtClean="0"/>
              <a:t>City | Dat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48588" y="6121376"/>
            <a:ext cx="1254995" cy="269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49020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Photo_O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2"/>
            <a:ext cx="12190264" cy="6857996"/>
          </a:xfrm>
          <a:prstGeom prst="rect">
            <a:avLst/>
          </a:prstGeom>
        </p:spPr>
      </p:pic>
      <p:sp>
        <p:nvSpPr>
          <p:cNvPr id="2" name="Rectangle 1"/>
          <p:cNvSpPr/>
          <p:nvPr userDrawn="1"/>
        </p:nvSpPr>
        <p:spPr bwMode="auto">
          <a:xfrm>
            <a:off x="269239" y="2077803"/>
            <a:ext cx="6274974" cy="3592580"/>
          </a:xfrm>
          <a:prstGeom prst="rect">
            <a:avLst/>
          </a:prstGeom>
          <a:solidFill>
            <a:schemeClr val="accent1">
              <a:alpha val="9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08" tIns="143366" rIns="179208" bIns="14336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576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269302" y="2077814"/>
            <a:ext cx="6276530" cy="1793104"/>
          </a:xfrm>
          <a:noFill/>
        </p:spPr>
        <p:txBody>
          <a:bodyPr lIns="146304" tIns="91440" rIns="146304" bIns="91440" anchor="t" anchorCtr="0"/>
          <a:lstStyle>
            <a:lvl1pPr>
              <a:defRPr sz="5291" spc="-98" baseline="0">
                <a:gradFill>
                  <a:gsLst>
                    <a:gs pos="57576">
                      <a:srgbClr val="FFFFFF"/>
                    </a:gs>
                    <a:gs pos="35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267683" y="3877276"/>
            <a:ext cx="6276530" cy="1793104"/>
          </a:xfrm>
        </p:spPr>
        <p:txBody>
          <a:bodyPr tIns="109728" bIns="109728">
            <a:noAutofit/>
          </a:bodyPr>
          <a:lstStyle>
            <a:lvl1pPr marL="0" indent="0">
              <a:spcBef>
                <a:spcPts val="0"/>
              </a:spcBef>
              <a:buNone/>
              <a:defRPr sz="3134">
                <a:gradFill>
                  <a:gsLst>
                    <a:gs pos="57576">
                      <a:srgbClr val="FFFFFF"/>
                    </a:gs>
                    <a:gs pos="35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 dirty="0" smtClean="0"/>
              <a:t>Speaker Nam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48588" y="6121376"/>
            <a:ext cx="1254995" cy="269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55522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2" y="2084187"/>
            <a:ext cx="8964185" cy="1793090"/>
          </a:xfrm>
          <a:noFill/>
        </p:spPr>
        <p:txBody>
          <a:bodyPr lIns="146304" tIns="91440" rIns="146304" bIns="91440" anchor="t" anchorCtr="0"/>
          <a:lstStyle>
            <a:lvl1pPr>
              <a:defRPr sz="5291" spc="-98" baseline="0">
                <a:gradFill>
                  <a:gsLst>
                    <a:gs pos="100000">
                      <a:schemeClr val="tx2"/>
                    </a:gs>
                    <a:gs pos="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304" y="3878574"/>
            <a:ext cx="7171337" cy="1792326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3134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 smtClean="0"/>
              <a:t>Speaker Nam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48588" y="6121376"/>
            <a:ext cx="1254995" cy="269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61606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2-color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42" y="1189180"/>
            <a:ext cx="11653523" cy="198564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3968" indent="0">
              <a:buNone/>
              <a:defRPr/>
            </a:lvl3pPr>
            <a:lvl4pPr marL="447935" indent="0">
              <a:buNone/>
              <a:defRPr/>
            </a:lvl4pPr>
            <a:lvl5pPr marL="671903" indent="0"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181815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42" y="1189180"/>
            <a:ext cx="11653523" cy="198564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1"/>
                    </a:gs>
                    <a:gs pos="99000">
                      <a:schemeClr val="tx1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3968" indent="0">
              <a:buNone/>
              <a:defRPr/>
            </a:lvl3pPr>
            <a:lvl4pPr marL="447935" indent="0">
              <a:buNone/>
              <a:defRPr/>
            </a:lvl4pPr>
            <a:lvl5pPr marL="671903" indent="0"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920865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1st level colo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2" y="1189177"/>
            <a:ext cx="11653523" cy="2052030"/>
          </a:xfrm>
        </p:spPr>
        <p:txBody>
          <a:bodyPr>
            <a:spAutoFit/>
          </a:bodyPr>
          <a:lstStyle>
            <a:lvl1pPr>
              <a:defRPr sz="3918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48364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2" y="1189177"/>
            <a:ext cx="11653523" cy="2052030"/>
          </a:xfrm>
        </p:spPr>
        <p:txBody>
          <a:bodyPr>
            <a:spAutoFit/>
          </a:bodyPr>
          <a:lstStyle>
            <a:lvl1pPr>
              <a:defRPr sz="3918"/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7435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2-color Non-bulle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4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4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1961"/>
            </a:lvl2pPr>
            <a:lvl3pPr marL="227079" indent="0">
              <a:buNone/>
              <a:tabLst/>
              <a:defRPr sz="1961"/>
            </a:lvl3pPr>
            <a:lvl4pPr marL="451046" indent="0">
              <a:buNone/>
              <a:defRPr/>
            </a:lvl4pPr>
            <a:lvl5pPr marL="671903" indent="0">
              <a:buNone/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4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1961"/>
            </a:lvl2pPr>
            <a:lvl3pPr marL="227079" indent="0">
              <a:buNone/>
              <a:tabLst/>
              <a:defRPr sz="1961"/>
            </a:lvl3pPr>
            <a:lvl4pPr marL="451046" indent="0">
              <a:buNone/>
              <a:defRPr/>
            </a:lvl4pPr>
            <a:lvl5pPr marL="671903" indent="0">
              <a:buNone/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564702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4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4"/>
            </a:lvl1pPr>
            <a:lvl2pPr marL="0" indent="0">
              <a:buNone/>
              <a:defRPr sz="1961"/>
            </a:lvl2pPr>
            <a:lvl3pPr marL="227079" indent="0">
              <a:buNone/>
              <a:tabLst/>
              <a:defRPr sz="1961"/>
            </a:lvl3pPr>
            <a:lvl4pPr marL="451046" indent="0">
              <a:buNone/>
              <a:defRPr/>
            </a:lvl4pPr>
            <a:lvl5pPr marL="671903" indent="0">
              <a:buNone/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4"/>
            </a:lvl1pPr>
            <a:lvl2pPr marL="0" indent="0">
              <a:buNone/>
              <a:defRPr sz="1961"/>
            </a:lvl2pPr>
            <a:lvl3pPr marL="227079" indent="0">
              <a:buNone/>
              <a:tabLst/>
              <a:defRPr sz="1961"/>
            </a:lvl3pPr>
            <a:lvl4pPr marL="451046" indent="0">
              <a:buNone/>
              <a:defRPr/>
            </a:lvl4pPr>
            <a:lvl5pPr marL="671903" indent="0">
              <a:buNone/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10970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 1st level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4" y="1189176"/>
            <a:ext cx="5378548" cy="2377940"/>
          </a:xfrm>
        </p:spPr>
        <p:txBody>
          <a:bodyPr wrap="square">
            <a:spAutoFit/>
          </a:bodyPr>
          <a:lstStyle>
            <a:lvl1pPr marL="281515" indent="-281515">
              <a:spcBef>
                <a:spcPts val="1200"/>
              </a:spcBef>
              <a:buClr>
                <a:schemeClr val="tx2"/>
              </a:buClr>
              <a:buFont typeface="Arial" pitchFamily="34" charset="0"/>
              <a:buChar char="•"/>
              <a:defRPr sz="3134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20402" indent="-228469">
              <a:defRPr sz="2353"/>
            </a:lvl2pPr>
            <a:lvl3pPr marL="685407" indent="-165006">
              <a:tabLst/>
              <a:defRPr sz="1961"/>
            </a:lvl3pPr>
            <a:lvl4pPr marL="863105" indent="-177699">
              <a:defRPr/>
            </a:lvl4pPr>
            <a:lvl5pPr marL="1028110" indent="-165006"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2377940"/>
          </a:xfrm>
        </p:spPr>
        <p:txBody>
          <a:bodyPr wrap="square">
            <a:spAutoFit/>
          </a:bodyPr>
          <a:lstStyle>
            <a:lvl1pPr marL="281515" indent="-281515">
              <a:spcBef>
                <a:spcPts val="1200"/>
              </a:spcBef>
              <a:buClr>
                <a:schemeClr val="tx2"/>
              </a:buClr>
              <a:buFont typeface="Arial" pitchFamily="34" charset="0"/>
              <a:buChar char="•"/>
              <a:defRPr sz="3134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20402" indent="-228469">
              <a:defRPr sz="2353"/>
            </a:lvl2pPr>
            <a:lvl3pPr marL="685407" indent="-165006">
              <a:tabLst/>
              <a:defRPr sz="1961"/>
            </a:lvl3pPr>
            <a:lvl4pPr marL="863105" indent="-177699">
              <a:defRPr/>
            </a:lvl4pPr>
            <a:lvl5pPr marL="1028110" indent="-165006"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89857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ITPro Sectio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96"/>
          <p:cNvSpPr>
            <a:spLocks noGrp="1"/>
          </p:cNvSpPr>
          <p:nvPr>
            <p:ph type="title"/>
          </p:nvPr>
        </p:nvSpPr>
        <p:spPr>
          <a:xfrm>
            <a:off x="269240" y="289511"/>
            <a:ext cx="4487487" cy="4430271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9240" y="5394960"/>
            <a:ext cx="1463040" cy="14630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38689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4" y="1189176"/>
            <a:ext cx="5378548" cy="2377940"/>
          </a:xfrm>
        </p:spPr>
        <p:txBody>
          <a:bodyPr wrap="square">
            <a:spAutoFit/>
          </a:bodyPr>
          <a:lstStyle>
            <a:lvl1pPr marL="281515" indent="-281515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sz="3134"/>
            </a:lvl1pPr>
            <a:lvl2pPr marL="520402" indent="-228469">
              <a:defRPr sz="2353"/>
            </a:lvl2pPr>
            <a:lvl3pPr marL="685407" indent="-165006">
              <a:tabLst/>
              <a:defRPr sz="1961"/>
            </a:lvl3pPr>
            <a:lvl4pPr marL="863105" indent="-177699">
              <a:defRPr/>
            </a:lvl4pPr>
            <a:lvl5pPr marL="1028110" indent="-165006"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2377940"/>
          </a:xfrm>
        </p:spPr>
        <p:txBody>
          <a:bodyPr wrap="square">
            <a:spAutoFit/>
          </a:bodyPr>
          <a:lstStyle>
            <a:lvl1pPr marL="281515" indent="-281515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sz="3134"/>
            </a:lvl1pPr>
            <a:lvl2pPr marL="520402" indent="-228469">
              <a:defRPr sz="2353"/>
            </a:lvl2pPr>
            <a:lvl3pPr marL="685407" indent="-165006">
              <a:tabLst/>
              <a:defRPr sz="1961"/>
            </a:lvl3pPr>
            <a:lvl4pPr marL="863105" indent="-177699">
              <a:defRPr/>
            </a:lvl4pPr>
            <a:lvl5pPr marL="1028110" indent="-165006"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706018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540162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1186359"/>
            <a:ext cx="9859116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2" spc="-98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Demo titl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243" y="3877277"/>
            <a:ext cx="9860674" cy="724246"/>
          </a:xfrm>
          <a:noFill/>
        </p:spPr>
        <p:txBody>
          <a:bodyPr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3134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 smtClean="0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347612900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1186359"/>
            <a:ext cx="9859116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lang="en-US" sz="7052" b="0" kern="1200" cap="none" spc="-98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 smtClean="0"/>
              <a:t>Video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2087255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2" y="2084175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2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Section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026576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2" y="2084175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2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Section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3604202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2" y="2084175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2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Section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4653952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3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2" y="2084175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2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Section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1294518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0-50 Right Photo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4" y="1217195"/>
            <a:ext cx="5378548" cy="1973570"/>
          </a:xfrm>
        </p:spPr>
        <p:txBody>
          <a:bodyPr>
            <a:spAutoFit/>
          </a:bodyPr>
          <a:lstStyle>
            <a:lvl1pPr>
              <a:defRPr sz="6467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50/50 photo layout</a:t>
            </a:r>
            <a:endParaRPr lang="en-US" dirty="0"/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 bwMode="ltGray">
          <a:xfrm>
            <a:off x="6097556" y="0"/>
            <a:ext cx="6094444" cy="6856100"/>
          </a:xfrm>
          <a:blipFill>
            <a:blip r:embed="rId2"/>
            <a:stretch>
              <a:fillRect/>
            </a:stretch>
          </a:blipFill>
        </p:spPr>
        <p:txBody>
          <a:bodyPr tIns="548640" anchor="ctr" anchorCtr="0">
            <a:noAutofit/>
          </a:bodyPr>
          <a:lstStyle>
            <a:lvl1pPr marL="0" indent="0" algn="ctr">
              <a:buNone/>
              <a:defRPr sz="1567" b="1" cap="none" baseline="0">
                <a:gradFill>
                  <a:gsLst>
                    <a:gs pos="0">
                      <a:srgbClr val="FFFFFF"/>
                    </a:gs>
                    <a:gs pos="27000">
                      <a:srgbClr val="FFFFFF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855773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95715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 Sectio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96"/>
          <p:cNvSpPr>
            <a:spLocks noGrp="1"/>
          </p:cNvSpPr>
          <p:nvPr>
            <p:ph type="title"/>
          </p:nvPr>
        </p:nvSpPr>
        <p:spPr>
          <a:xfrm>
            <a:off x="269240" y="289511"/>
            <a:ext cx="4487487" cy="4430271"/>
          </a:xfrm>
        </p:spPr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9240" y="5394960"/>
            <a:ext cx="1463040" cy="14630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17599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1208964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6927177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3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0429087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 smtClean="0"/>
              <a:t>Slide for developer code</a:t>
            </a:r>
            <a:endParaRPr lang="en-US" dirty="0"/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1" y="1189176"/>
            <a:ext cx="12192000" cy="5668824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02" tIns="45702" rIns="45702" bIns="4570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576" fontAlgn="base">
              <a:spcBef>
                <a:spcPct val="0"/>
              </a:spcBef>
              <a:spcAft>
                <a:spcPct val="0"/>
              </a:spcAft>
            </a:pPr>
            <a:endParaRPr lang="en-US" sz="1765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69239" y="1197325"/>
            <a:ext cx="11653522" cy="1956973"/>
          </a:xfrm>
        </p:spPr>
        <p:txBody>
          <a:bodyPr/>
          <a:lstStyle>
            <a:lvl1pPr marL="0" indent="0">
              <a:buNone/>
              <a:defRPr sz="3232"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39531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72759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798054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29698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333818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69239" y="6171619"/>
            <a:ext cx="11653522" cy="39531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79208" tIns="143366" rIns="179208" bIns="143366" numCol="1" anchor="t" anchorCtr="0" compatLnSpc="1">
            <a:prstTxWarp prst="textNoShape">
              <a:avLst/>
            </a:prstTxWarp>
            <a:spAutoFit/>
          </a:bodyPr>
          <a:lstStyle/>
          <a:p>
            <a:pPr defTabSz="913397" eaLnBrk="0" hangingPunct="0"/>
            <a:r>
              <a:rPr lang="en-US" sz="686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0"/>
                </a:gradFill>
                <a:cs typeface="Segoe UI" pitchFamily="34" charset="0"/>
              </a:rPr>
              <a:t>© </a:t>
            </a:r>
            <a:r>
              <a:rPr lang="en-US" sz="686" dirty="0" smtClean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0"/>
                </a:gradFill>
                <a:cs typeface="Segoe UI" pitchFamily="34" charset="0"/>
              </a:rPr>
              <a:t>2015 </a:t>
            </a:r>
            <a:r>
              <a:rPr lang="en-US" sz="686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0"/>
                </a:gradFill>
                <a:cs typeface="Segoe UI" pitchFamily="34" charset="0"/>
              </a:rPr>
              <a:t>Microsoft Corporation. All rights reserved.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50206" y="3083652"/>
            <a:ext cx="3227129" cy="6920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2328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_colo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69239" y="6171619"/>
            <a:ext cx="11653522" cy="39531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79208" tIns="143366" rIns="179208" bIns="143366" numCol="1" anchor="t" anchorCtr="0" compatLnSpc="1">
            <a:prstTxWarp prst="textNoShape">
              <a:avLst/>
            </a:prstTxWarp>
            <a:spAutoFit/>
          </a:bodyPr>
          <a:lstStyle/>
          <a:p>
            <a:pPr defTabSz="913397" eaLnBrk="0" hangingPunct="0"/>
            <a:r>
              <a:rPr lang="en-US" sz="686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cs typeface="Segoe UI" pitchFamily="34" charset="0"/>
              </a:rPr>
              <a:t>© 2014 Microsoft Corporation. All rights reserved.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50208" y="3083652"/>
            <a:ext cx="3227129" cy="6920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3725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69242" y="1189178"/>
            <a:ext cx="11653523" cy="2396047"/>
          </a:xfrm>
          <a:prstGeom prst="rect">
            <a:avLst/>
          </a:prstGeom>
        </p:spPr>
        <p:txBody>
          <a:bodyPr/>
          <a:lstStyle>
            <a:lvl1pPr marL="284625" indent="-284625">
              <a:buClr>
                <a:schemeClr val="tx1"/>
              </a:buClr>
              <a:buSzPct val="90000"/>
              <a:buFont typeface="Arial" pitchFamily="34" charset="0"/>
              <a:buChar char="•"/>
              <a:defRPr sz="3526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59920" indent="-275295">
              <a:buClr>
                <a:schemeClr val="tx1"/>
              </a:buClr>
              <a:buSzPct val="90000"/>
              <a:buFont typeface="Arial" pitchFamily="34" charset="0"/>
              <a:buChar char="•"/>
              <a:defRPr sz="3134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44545" indent="-284625">
              <a:buClr>
                <a:schemeClr val="tx1"/>
              </a:buClr>
              <a:buSzPct val="90000"/>
              <a:buFont typeface="Arial" pitchFamily="34" charset="0"/>
              <a:buChar char="•"/>
              <a:defRPr sz="2745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68512" indent="-223968">
              <a:buClr>
                <a:schemeClr val="tx1"/>
              </a:buClr>
              <a:buSzPct val="90000"/>
              <a:buFont typeface="Arial" pitchFamily="34" charset="0"/>
              <a:buChar char="•"/>
              <a:defRPr sz="2353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292478" indent="-223968">
              <a:buClr>
                <a:schemeClr val="tx1"/>
              </a:buClr>
              <a:buSzPct val="90000"/>
              <a:buFont typeface="Arial" pitchFamily="34" charset="0"/>
              <a:buChar char="•"/>
              <a:defRPr sz="1961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 smtClean="0"/>
              <a:t>Use this Layout for Speaker Notes slid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4" y="6238876"/>
            <a:ext cx="12192001" cy="619125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624" spc="-50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 smtClean="0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3941225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48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5377878"/>
          </a:xfrm>
        </p:spPr>
        <p:txBody>
          <a:bodyPr/>
          <a:lstStyle>
            <a:lvl1pPr marL="182880" indent="-182880">
              <a:buFont typeface="Arial" panose="020B0604020202020204" pitchFamily="34" charset="0"/>
              <a:buChar char="•"/>
              <a:defRPr>
                <a:solidFill>
                  <a:schemeClr val="accent1"/>
                </a:solidFill>
                <a:latin typeface="+mj-lt"/>
              </a:defRPr>
            </a:lvl1pPr>
            <a:lvl2pPr marL="365760" indent="-182880">
              <a:buFont typeface="Arial" panose="020B0604020202020204" pitchFamily="34" charset="0"/>
              <a:buChar char="•"/>
              <a:defRPr sz="2400">
                <a:latin typeface="+mj-lt"/>
              </a:defRPr>
            </a:lvl2pPr>
            <a:lvl3pPr marL="548640" indent="-182880">
              <a:buFont typeface="Arial" panose="020B0604020202020204" pitchFamily="34" charset="0"/>
              <a:buChar char="•"/>
              <a:defRPr sz="2000">
                <a:latin typeface="+mj-lt"/>
              </a:defRPr>
            </a:lvl3pPr>
            <a:lvl4pPr marL="733943" indent="-285750">
              <a:buFont typeface="Arial" panose="020B0604020202020204" pitchFamily="34" charset="0"/>
              <a:buChar char="•"/>
              <a:defRPr/>
            </a:lvl4pPr>
            <a:lvl5pPr marL="958040" indent="-285750"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8095605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Red Til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-1"/>
            <a:ext cx="12193730" cy="6858001"/>
          </a:xfrm>
          <a:prstGeom prst="rect">
            <a:avLst/>
          </a:prstGeom>
          <a:noFill/>
          <a:ln>
            <a:noFill/>
          </a:ln>
        </p:spPr>
      </p:pic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11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/>
          <p:cNvSpPr/>
          <p:nvPr/>
        </p:nvSpPr>
        <p:spPr>
          <a:xfrm>
            <a:off x="133470" y="325979"/>
            <a:ext cx="6233021" cy="4148709"/>
          </a:xfrm>
          <a:prstGeom prst="rect">
            <a:avLst/>
          </a:prstGeom>
          <a:solidFill>
            <a:srgbClr val="F2C812">
              <a:alpha val="83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en-US" kern="0" smtClean="0">
              <a:gradFill>
                <a:gsLst>
                  <a:gs pos="93162">
                    <a:srgbClr val="505050">
                      <a:lumMod val="50000"/>
                    </a:srgbClr>
                  </a:gs>
                  <a:gs pos="68000">
                    <a:srgbClr val="505050">
                      <a:lumMod val="50000"/>
                    </a:srgbClr>
                  </a:gs>
                </a:gsLst>
                <a:lin ang="5400000" scaled="0"/>
              </a:gra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223347" y="599489"/>
            <a:ext cx="6053269" cy="1292662"/>
          </a:xfrm>
          <a:prstGeom prst="rect">
            <a:avLst/>
          </a:prstGeom>
          <a:noFill/>
        </p:spPr>
        <p:txBody>
          <a:bodyPr wrap="square" lIns="228600" tIns="91440" rIns="228600" bIns="91440" rtlCol="0">
            <a:spAutoFit/>
          </a:bodyPr>
          <a:lstStyle/>
          <a:p>
            <a:pPr defTabSz="914099" fontAlgn="base">
              <a:lnSpc>
                <a:spcPct val="90000"/>
              </a:lnSpc>
              <a:spcAft>
                <a:spcPts val="1200"/>
              </a:spcAft>
            </a:pPr>
            <a:r>
              <a:rPr lang="en-US" sz="4000" dirty="0" smtClean="0">
                <a:gradFill>
                  <a:gsLst>
                    <a:gs pos="93162">
                      <a:srgbClr val="505050">
                        <a:lumMod val="50000"/>
                      </a:srgbClr>
                    </a:gs>
                    <a:gs pos="68000">
                      <a:srgbClr val="505050">
                        <a:lumMod val="50000"/>
                      </a:srgbClr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Bring your data to life with Microsoft </a:t>
            </a:r>
            <a:r>
              <a:rPr lang="en-US" sz="4000" dirty="0">
                <a:gradFill>
                  <a:gsLst>
                    <a:gs pos="93162">
                      <a:srgbClr val="505050">
                        <a:lumMod val="50000"/>
                      </a:srgbClr>
                    </a:gs>
                    <a:gs pos="68000">
                      <a:srgbClr val="505050">
                        <a:lumMod val="50000"/>
                      </a:srgbClr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Power BI</a:t>
            </a:r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464020" y="2908517"/>
            <a:ext cx="5199207" cy="994420"/>
          </a:xfrm>
          <a:prstGeom prst="rect">
            <a:avLst/>
          </a:prstGeom>
        </p:spPr>
        <p:txBody>
          <a:bodyPr lIns="182880" tIns="146304" rIns="182880" bIns="146304"/>
          <a:lstStyle>
            <a:lvl1pPr marL="0" indent="0" algn="l">
              <a:lnSpc>
                <a:spcPct val="90000"/>
              </a:lnSpc>
              <a:buNone/>
              <a:defRPr sz="2157">
                <a:solidFill>
                  <a:schemeClr val="tx1"/>
                </a:solidFill>
                <a:latin typeface="+mn-lt"/>
              </a:defRPr>
            </a:lvl1pPr>
            <a:lvl2pPr marL="4481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963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445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927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409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891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373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5855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peaker Name</a:t>
            </a:r>
            <a:br>
              <a:rPr lang="en-US" dirty="0" smtClean="0"/>
            </a:br>
            <a:r>
              <a:rPr lang="en-US" dirty="0" smtClean="0"/>
              <a:t>Date</a:t>
            </a:r>
          </a:p>
        </p:txBody>
      </p:sp>
      <p:sp>
        <p:nvSpPr>
          <p:cNvPr id="14" name="Subtitle 2"/>
          <p:cNvSpPr txBox="1">
            <a:spLocks/>
          </p:cNvSpPr>
          <p:nvPr userDrawn="1"/>
        </p:nvSpPr>
        <p:spPr>
          <a:xfrm>
            <a:off x="464020" y="2045436"/>
            <a:ext cx="5199207" cy="709796"/>
          </a:xfrm>
          <a:prstGeom prst="rect">
            <a:avLst/>
          </a:prstGeom>
        </p:spPr>
        <p:txBody>
          <a:bodyPr vert="horz" wrap="square" lIns="182880" tIns="146304" rIns="182880" bIns="146304" rtlCol="0">
            <a:noAutofit/>
          </a:bodyPr>
          <a:lstStyle>
            <a:lvl1pPr marL="0" marR="0" indent="0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sz="2157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48193" marR="0" indent="0" algn="ctr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sz="2353" kern="1200" spc="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896386" marR="0" indent="0" algn="ctr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sz="1961" kern="1200" spc="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44579" marR="0" indent="0" algn="ctr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sz="1765" kern="1200" spc="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792773" marR="0" indent="0" algn="ctr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sz="1765" kern="1200" spc="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40966" indent="0" algn="ctr" defTabSz="914367" rtl="0" eaLnBrk="1" latinLnBrk="0" hangingPunct="1">
              <a:spcBef>
                <a:spcPct val="20000"/>
              </a:spcBef>
              <a:buFont typeface="Arial" pitchFamily="34" charset="0"/>
              <a:buNone/>
              <a:defRPr sz="1961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689159" indent="0" algn="ctr" defTabSz="914367" rtl="0" eaLnBrk="1" latinLnBrk="0" hangingPunct="1">
              <a:spcBef>
                <a:spcPct val="20000"/>
              </a:spcBef>
              <a:buFont typeface="Arial" pitchFamily="34" charset="0"/>
              <a:buNone/>
              <a:defRPr sz="1961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137352" indent="0" algn="ctr" defTabSz="914367" rtl="0" eaLnBrk="1" latinLnBrk="0" hangingPunct="1">
              <a:spcBef>
                <a:spcPct val="20000"/>
              </a:spcBef>
              <a:buFont typeface="Arial" pitchFamily="34" charset="0"/>
              <a:buNone/>
              <a:defRPr sz="1961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585545" indent="0" algn="ctr" defTabSz="914367" rtl="0" eaLnBrk="1" latinLnBrk="0" hangingPunct="1">
              <a:spcBef>
                <a:spcPct val="20000"/>
              </a:spcBef>
              <a:buFont typeface="Arial" pitchFamily="34" charset="0"/>
              <a:buNone/>
              <a:defRPr sz="1961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/>
              <a:t>L200 Deck</a:t>
            </a:r>
          </a:p>
        </p:txBody>
      </p:sp>
    </p:spTree>
    <p:extLst>
      <p:ext uri="{BB962C8B-B14F-4D97-AF65-F5344CB8AC3E}">
        <p14:creationId xmlns:p14="http://schemas.microsoft.com/office/powerpoint/2010/main" val="20645329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1st level colo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5340932"/>
          </a:xfrm>
        </p:spPr>
        <p:txBody>
          <a:bodyPr/>
          <a:lstStyle>
            <a:lvl1pPr marL="182880" indent="-182880">
              <a:buFont typeface="Arial" panose="020B0604020202020204" pitchFamily="34" charset="0"/>
              <a:buChar char="•"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  <a:latin typeface="+mj-lt"/>
              </a:defRPr>
            </a:lvl1pPr>
            <a:lvl2pPr marL="365760" indent="-182880">
              <a:buFont typeface="Arial" panose="020B0604020202020204" pitchFamily="34" charset="0"/>
              <a:buChar char="•"/>
              <a:defRPr sz="2400">
                <a:latin typeface="+mj-lt"/>
              </a:defRPr>
            </a:lvl2pPr>
            <a:lvl3pPr marL="548640" indent="-182880">
              <a:buFont typeface="Arial" panose="020B0604020202020204" pitchFamily="34" charset="0"/>
              <a:buChar char="•"/>
              <a:defRPr sz="2000">
                <a:latin typeface="+mj-lt"/>
              </a:defRPr>
            </a:lvl3pPr>
            <a:lvl4pPr marL="733943" indent="-285750">
              <a:buFont typeface="Arial" panose="020B0604020202020204" pitchFamily="34" charset="0"/>
              <a:buChar char="•"/>
              <a:defRPr/>
            </a:lvl4pPr>
            <a:lvl5pPr marL="958040" indent="-285750"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3079350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5340932"/>
          </a:xfrm>
        </p:spPr>
        <p:txBody>
          <a:bodyPr/>
          <a:lstStyle>
            <a:lvl1pPr marL="182880" indent="-182880">
              <a:buFont typeface="Arial" panose="020B0604020202020204" pitchFamily="34" charset="0"/>
              <a:buChar char="•"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  <a:latin typeface="+mj-lt"/>
              </a:defRPr>
            </a:lvl1pPr>
            <a:lvl2pPr marL="365760" indent="-182880">
              <a:buFont typeface="Arial" panose="020B0604020202020204" pitchFamily="34" charset="0"/>
              <a:buChar char="•"/>
              <a:defRPr sz="2400">
                <a:latin typeface="+mj-lt"/>
              </a:defRPr>
            </a:lvl2pPr>
            <a:lvl3pPr marL="548640" indent="-182880">
              <a:buFont typeface="Arial" panose="020B0604020202020204" pitchFamily="34" charset="0"/>
              <a:buChar char="•"/>
              <a:defRPr sz="2000">
                <a:latin typeface="+mj-lt"/>
              </a:defRPr>
            </a:lvl3pPr>
            <a:lvl4pPr marL="733943" indent="-285750">
              <a:buFont typeface="Arial" panose="020B0604020202020204" pitchFamily="34" charset="0"/>
              <a:buChar char="•"/>
              <a:defRPr/>
            </a:lvl4pPr>
            <a:lvl5pPr marL="958040" indent="-285750"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41275780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2-color Non-bulle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269241" y="1189176"/>
            <a:ext cx="5486400" cy="5396352"/>
          </a:xfrm>
        </p:spPr>
        <p:txBody>
          <a:bodyPr wrap="square">
            <a:noAutofit/>
          </a:bodyPr>
          <a:lstStyle>
            <a:lvl1pPr marL="182880" indent="-18288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3200">
                <a:solidFill>
                  <a:schemeClr val="accent1"/>
                </a:solidFill>
              </a:defRPr>
            </a:lvl1pPr>
            <a:lvl2pPr marL="36576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2400"/>
            </a:lvl2pPr>
            <a:lvl3pPr marL="54864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961"/>
            </a:lvl3pPr>
            <a:lvl4pPr marL="737056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 marL="958040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410037" y="1189176"/>
            <a:ext cx="5486400" cy="5396352"/>
          </a:xfrm>
        </p:spPr>
        <p:txBody>
          <a:bodyPr wrap="square">
            <a:noAutofit/>
          </a:bodyPr>
          <a:lstStyle>
            <a:lvl1pPr marL="182880" indent="-18288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3200">
                <a:solidFill>
                  <a:schemeClr val="accent1"/>
                </a:solidFill>
              </a:defRPr>
            </a:lvl1pPr>
            <a:lvl2pPr marL="36576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2400"/>
            </a:lvl2pPr>
            <a:lvl3pPr marL="54864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961"/>
            </a:lvl3pPr>
            <a:lvl4pPr marL="737056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 marL="958040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9745370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269241" y="1189176"/>
            <a:ext cx="5486400" cy="5396352"/>
          </a:xfrm>
        </p:spPr>
        <p:txBody>
          <a:bodyPr wrap="square">
            <a:noAutofit/>
          </a:bodyPr>
          <a:lstStyle>
            <a:lvl1pPr marL="182880" indent="-18288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3200">
                <a:solidFill>
                  <a:schemeClr val="accent1"/>
                </a:solidFill>
              </a:defRPr>
            </a:lvl1pPr>
            <a:lvl2pPr marL="36576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2400"/>
            </a:lvl2pPr>
            <a:lvl3pPr marL="54864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961"/>
            </a:lvl3pPr>
            <a:lvl4pPr marL="737056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 marL="958040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410037" y="1189176"/>
            <a:ext cx="5486400" cy="5396352"/>
          </a:xfrm>
        </p:spPr>
        <p:txBody>
          <a:bodyPr wrap="square">
            <a:noAutofit/>
          </a:bodyPr>
          <a:lstStyle>
            <a:lvl1pPr marL="182880" indent="-18288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3200">
                <a:solidFill>
                  <a:schemeClr val="accent1"/>
                </a:solidFill>
              </a:defRPr>
            </a:lvl1pPr>
            <a:lvl2pPr marL="36576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2400"/>
            </a:lvl2pPr>
            <a:lvl3pPr marL="54864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961"/>
            </a:lvl3pPr>
            <a:lvl4pPr marL="737056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 marL="958040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7326960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 1st level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269241" y="1189176"/>
            <a:ext cx="5486400" cy="5396352"/>
          </a:xfrm>
        </p:spPr>
        <p:txBody>
          <a:bodyPr wrap="square">
            <a:noAutofit/>
          </a:bodyPr>
          <a:lstStyle>
            <a:lvl1pPr marL="182880" indent="-18288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3200">
                <a:solidFill>
                  <a:schemeClr val="accent1"/>
                </a:solidFill>
              </a:defRPr>
            </a:lvl1pPr>
            <a:lvl2pPr marL="36576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2400"/>
            </a:lvl2pPr>
            <a:lvl3pPr marL="54864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961"/>
            </a:lvl3pPr>
            <a:lvl4pPr marL="737056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 marL="958040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410037" y="1189176"/>
            <a:ext cx="5486400" cy="5396352"/>
          </a:xfrm>
        </p:spPr>
        <p:txBody>
          <a:bodyPr wrap="square">
            <a:noAutofit/>
          </a:bodyPr>
          <a:lstStyle>
            <a:lvl1pPr marL="182880" indent="-18288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3200">
                <a:solidFill>
                  <a:schemeClr val="accent1"/>
                </a:solidFill>
              </a:defRPr>
            </a:lvl1pPr>
            <a:lvl2pPr marL="36576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2400"/>
            </a:lvl2pPr>
            <a:lvl3pPr marL="54864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961"/>
            </a:lvl3pPr>
            <a:lvl4pPr marL="737056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 marL="958040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6784123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269241" y="1189176"/>
            <a:ext cx="5486400" cy="5396352"/>
          </a:xfrm>
        </p:spPr>
        <p:txBody>
          <a:bodyPr wrap="square">
            <a:noAutofit/>
          </a:bodyPr>
          <a:lstStyle>
            <a:lvl1pPr marL="182880" indent="-18288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3200">
                <a:solidFill>
                  <a:schemeClr val="accent1"/>
                </a:solidFill>
              </a:defRPr>
            </a:lvl1pPr>
            <a:lvl2pPr marL="36576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2400"/>
            </a:lvl2pPr>
            <a:lvl3pPr marL="54864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961"/>
            </a:lvl3pPr>
            <a:lvl4pPr marL="737056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 marL="958040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410037" y="1189176"/>
            <a:ext cx="5486400" cy="5396352"/>
          </a:xfrm>
        </p:spPr>
        <p:txBody>
          <a:bodyPr wrap="square">
            <a:noAutofit/>
          </a:bodyPr>
          <a:lstStyle>
            <a:lvl1pPr marL="182880" indent="-18288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3200">
                <a:solidFill>
                  <a:schemeClr val="accent1"/>
                </a:solidFill>
              </a:defRPr>
            </a:lvl1pPr>
            <a:lvl2pPr marL="36576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2400"/>
            </a:lvl2pPr>
            <a:lvl3pPr marL="54864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961"/>
            </a:lvl3pPr>
            <a:lvl4pPr marL="737056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 marL="958040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3010982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492399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Section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407211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905522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2" y="2084187"/>
            <a:ext cx="8964185" cy="1793090"/>
          </a:xfrm>
          <a:noFill/>
        </p:spPr>
        <p:txBody>
          <a:bodyPr lIns="146304" tIns="91440" rIns="146304" bIns="91440" anchor="t" anchorCtr="0"/>
          <a:lstStyle>
            <a:lvl1pPr>
              <a:defRPr sz="5291" spc="-98" baseline="0">
                <a:gradFill>
                  <a:gsLst>
                    <a:gs pos="100000">
                      <a:schemeClr val="tx2"/>
                    </a:gs>
                    <a:gs pos="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304" y="3878574"/>
            <a:ext cx="7171337" cy="1792326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3134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 smtClean="0"/>
              <a:t>Speaker Nam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8588" y="6121376"/>
            <a:ext cx="1254995" cy="269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15838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15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smtClean="0">
                <a:solidFill>
                  <a:srgbClr val="505050"/>
                </a:solidFill>
              </a:rPr>
              <a:t>Microsoft Confidential</a:t>
            </a:r>
            <a:endParaRPr>
              <a:solidFill>
                <a:srgbClr val="505050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7258FFF-F925-446B-8502-81C933981705}" type="slidenum">
              <a:rPr>
                <a:solidFill>
                  <a:srgbClr val="505050"/>
                </a:solidFill>
              </a:rPr>
              <a:pPr/>
              <a:t>‹#›</a:t>
            </a:fld>
            <a:endParaRPr>
              <a:solidFill>
                <a:srgbClr val="505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036038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2-color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42" y="1189180"/>
            <a:ext cx="11653523" cy="198564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3968" indent="0">
              <a:buNone/>
              <a:defRPr/>
            </a:lvl3pPr>
            <a:lvl4pPr marL="447935" indent="0">
              <a:buNone/>
              <a:defRPr/>
            </a:lvl4pPr>
            <a:lvl5pPr marL="671903" indent="0"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91414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42" y="1189180"/>
            <a:ext cx="11653523" cy="198564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1"/>
                    </a:gs>
                    <a:gs pos="99000">
                      <a:schemeClr val="tx1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3968" indent="0">
              <a:buNone/>
              <a:defRPr/>
            </a:lvl3pPr>
            <a:lvl4pPr marL="447935" indent="0">
              <a:buNone/>
              <a:defRPr/>
            </a:lvl4pPr>
            <a:lvl5pPr marL="671903" indent="0"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643785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1st level colo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2" y="1189177"/>
            <a:ext cx="11653523" cy="2052030"/>
          </a:xfrm>
        </p:spPr>
        <p:txBody>
          <a:bodyPr>
            <a:spAutoFit/>
          </a:bodyPr>
          <a:lstStyle>
            <a:lvl1pPr>
              <a:defRPr sz="3918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6993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2" y="1189177"/>
            <a:ext cx="11653523" cy="2052030"/>
          </a:xfrm>
        </p:spPr>
        <p:txBody>
          <a:bodyPr>
            <a:spAutoFit/>
          </a:bodyPr>
          <a:lstStyle>
            <a:lvl1pPr>
              <a:defRPr sz="3918"/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054632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2-color Non-bulle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4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4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1961"/>
            </a:lvl2pPr>
            <a:lvl3pPr marL="227079" indent="0">
              <a:buNone/>
              <a:tabLst/>
              <a:defRPr sz="1961"/>
            </a:lvl3pPr>
            <a:lvl4pPr marL="451046" indent="0">
              <a:buNone/>
              <a:defRPr/>
            </a:lvl4pPr>
            <a:lvl5pPr marL="671903" indent="0">
              <a:buNone/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4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1961"/>
            </a:lvl2pPr>
            <a:lvl3pPr marL="227079" indent="0">
              <a:buNone/>
              <a:tabLst/>
              <a:defRPr sz="1961"/>
            </a:lvl3pPr>
            <a:lvl4pPr marL="451046" indent="0">
              <a:buNone/>
              <a:defRPr/>
            </a:lvl4pPr>
            <a:lvl5pPr marL="671903" indent="0">
              <a:buNone/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5848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4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4"/>
            </a:lvl1pPr>
            <a:lvl2pPr marL="0" indent="0">
              <a:buNone/>
              <a:defRPr sz="1961"/>
            </a:lvl2pPr>
            <a:lvl3pPr marL="227079" indent="0">
              <a:buNone/>
              <a:tabLst/>
              <a:defRPr sz="1961"/>
            </a:lvl3pPr>
            <a:lvl4pPr marL="451046" indent="0">
              <a:buNone/>
              <a:defRPr/>
            </a:lvl4pPr>
            <a:lvl5pPr marL="671903" indent="0">
              <a:buNone/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4"/>
            </a:lvl1pPr>
            <a:lvl2pPr marL="0" indent="0">
              <a:buNone/>
              <a:defRPr sz="1961"/>
            </a:lvl2pPr>
            <a:lvl3pPr marL="227079" indent="0">
              <a:buNone/>
              <a:tabLst/>
              <a:defRPr sz="1961"/>
            </a:lvl3pPr>
            <a:lvl4pPr marL="451046" indent="0">
              <a:buNone/>
              <a:defRPr/>
            </a:lvl4pPr>
            <a:lvl5pPr marL="671903" indent="0">
              <a:buNone/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360840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 1st level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4" y="1189176"/>
            <a:ext cx="5378548" cy="2377940"/>
          </a:xfrm>
        </p:spPr>
        <p:txBody>
          <a:bodyPr wrap="square">
            <a:spAutoFit/>
          </a:bodyPr>
          <a:lstStyle>
            <a:lvl1pPr marL="281515" indent="-281515">
              <a:spcBef>
                <a:spcPts val="1200"/>
              </a:spcBef>
              <a:buClr>
                <a:schemeClr val="tx2"/>
              </a:buClr>
              <a:buFont typeface="Arial" pitchFamily="34" charset="0"/>
              <a:buChar char="•"/>
              <a:defRPr sz="3134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20402" indent="-228469">
              <a:defRPr sz="2353"/>
            </a:lvl2pPr>
            <a:lvl3pPr marL="685407" indent="-165006">
              <a:tabLst/>
              <a:defRPr sz="1961"/>
            </a:lvl3pPr>
            <a:lvl4pPr marL="863105" indent="-177699">
              <a:defRPr/>
            </a:lvl4pPr>
            <a:lvl5pPr marL="1028110" indent="-165006"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2377940"/>
          </a:xfrm>
        </p:spPr>
        <p:txBody>
          <a:bodyPr wrap="square">
            <a:spAutoFit/>
          </a:bodyPr>
          <a:lstStyle>
            <a:lvl1pPr marL="281515" indent="-281515">
              <a:spcBef>
                <a:spcPts val="1200"/>
              </a:spcBef>
              <a:buClr>
                <a:schemeClr val="tx2"/>
              </a:buClr>
              <a:buFont typeface="Arial" pitchFamily="34" charset="0"/>
              <a:buChar char="•"/>
              <a:defRPr sz="3134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20402" indent="-228469">
              <a:defRPr sz="2353"/>
            </a:lvl2pPr>
            <a:lvl3pPr marL="685407" indent="-165006">
              <a:tabLst/>
              <a:defRPr sz="1961"/>
            </a:lvl3pPr>
            <a:lvl4pPr marL="863105" indent="-177699">
              <a:defRPr/>
            </a:lvl4pPr>
            <a:lvl5pPr marL="1028110" indent="-165006"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915244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4" y="1189176"/>
            <a:ext cx="5378548" cy="2377940"/>
          </a:xfrm>
        </p:spPr>
        <p:txBody>
          <a:bodyPr wrap="square">
            <a:spAutoFit/>
          </a:bodyPr>
          <a:lstStyle>
            <a:lvl1pPr marL="281515" indent="-281515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sz="3134"/>
            </a:lvl1pPr>
            <a:lvl2pPr marL="520402" indent="-228469">
              <a:defRPr sz="2353"/>
            </a:lvl2pPr>
            <a:lvl3pPr marL="685407" indent="-165006">
              <a:tabLst/>
              <a:defRPr sz="1961"/>
            </a:lvl3pPr>
            <a:lvl4pPr marL="863105" indent="-177699">
              <a:defRPr/>
            </a:lvl4pPr>
            <a:lvl5pPr marL="1028110" indent="-165006"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2377940"/>
          </a:xfrm>
        </p:spPr>
        <p:txBody>
          <a:bodyPr wrap="square">
            <a:spAutoFit/>
          </a:bodyPr>
          <a:lstStyle>
            <a:lvl1pPr marL="281515" indent="-281515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sz="3134"/>
            </a:lvl1pPr>
            <a:lvl2pPr marL="520402" indent="-228469">
              <a:defRPr sz="2353"/>
            </a:lvl2pPr>
            <a:lvl3pPr marL="685407" indent="-165006">
              <a:tabLst/>
              <a:defRPr sz="1961"/>
            </a:lvl3pPr>
            <a:lvl4pPr marL="863105" indent="-177699">
              <a:defRPr/>
            </a:lvl4pPr>
            <a:lvl5pPr marL="1028110" indent="-165006"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873169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27697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2" y="2084175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2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Section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8877999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Slide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27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invGray">
          <a:xfrm>
            <a:off x="450202" y="3083653"/>
            <a:ext cx="3223861" cy="6906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98911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2" y="2084187"/>
            <a:ext cx="8964185" cy="1793090"/>
          </a:xfrm>
          <a:noFill/>
        </p:spPr>
        <p:txBody>
          <a:bodyPr lIns="146304" tIns="91440" rIns="146304" bIns="91440" anchor="t" anchorCtr="0"/>
          <a:lstStyle>
            <a:lvl1pPr>
              <a:defRPr sz="5293" spc="-98" baseline="0">
                <a:gradFill>
                  <a:gsLst>
                    <a:gs pos="100000">
                      <a:schemeClr val="tx2"/>
                    </a:gs>
                    <a:gs pos="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302" y="3878574"/>
            <a:ext cx="7171337" cy="1792326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3136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 smtClean="0"/>
              <a:t>Speaker Nam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9304" y="5853250"/>
            <a:ext cx="1956016" cy="719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25291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2-color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40" y="1189178"/>
            <a:ext cx="11653523" cy="198564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4054" indent="0">
              <a:buNone/>
              <a:defRPr/>
            </a:lvl3pPr>
            <a:lvl4pPr marL="448107" indent="0">
              <a:buNone/>
              <a:defRPr/>
            </a:lvl4pPr>
            <a:lvl5pPr marL="672161" indent="0"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18388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40" y="1189178"/>
            <a:ext cx="11653523" cy="198564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1"/>
                    </a:gs>
                    <a:gs pos="99000">
                      <a:schemeClr val="tx1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4054" indent="0">
              <a:buNone/>
              <a:defRPr/>
            </a:lvl3pPr>
            <a:lvl4pPr marL="448107" indent="0">
              <a:buNone/>
              <a:defRPr/>
            </a:lvl4pPr>
            <a:lvl5pPr marL="672161" indent="0"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350816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1st level colo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0" y="1189177"/>
            <a:ext cx="11653523" cy="2052030"/>
          </a:xfrm>
        </p:spPr>
        <p:txBody>
          <a:bodyPr>
            <a:spAutoFit/>
          </a:bodyPr>
          <a:lstStyle>
            <a:lvl1pPr>
              <a:defRPr sz="3920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16776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0" y="1189177"/>
            <a:ext cx="11653523" cy="2052030"/>
          </a:xfrm>
        </p:spPr>
        <p:txBody>
          <a:bodyPr>
            <a:spAutoFit/>
          </a:bodyPr>
          <a:lstStyle>
            <a:lvl1pPr>
              <a:defRPr sz="3920"/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822719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2-color Non-bulle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2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6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1961"/>
            </a:lvl2pPr>
            <a:lvl3pPr marL="227165" indent="0">
              <a:buNone/>
              <a:tabLst/>
              <a:defRPr sz="1961"/>
            </a:lvl3pPr>
            <a:lvl4pPr marL="451219" indent="0">
              <a:buNone/>
              <a:defRPr/>
            </a:lvl4pPr>
            <a:lvl5pPr marL="672161" indent="0">
              <a:buNone/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6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1961"/>
            </a:lvl2pPr>
            <a:lvl3pPr marL="227165" indent="0">
              <a:buNone/>
              <a:tabLst/>
              <a:defRPr sz="1961"/>
            </a:lvl3pPr>
            <a:lvl4pPr marL="451219" indent="0">
              <a:buNone/>
              <a:defRPr/>
            </a:lvl4pPr>
            <a:lvl5pPr marL="672161" indent="0">
              <a:buNone/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431469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2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6"/>
            </a:lvl1pPr>
            <a:lvl2pPr marL="0" indent="0">
              <a:buNone/>
              <a:defRPr sz="1961"/>
            </a:lvl2pPr>
            <a:lvl3pPr marL="227165" indent="0">
              <a:buNone/>
              <a:tabLst/>
              <a:defRPr sz="1961"/>
            </a:lvl3pPr>
            <a:lvl4pPr marL="451219" indent="0">
              <a:buNone/>
              <a:defRPr/>
            </a:lvl4pPr>
            <a:lvl5pPr marL="672161" indent="0">
              <a:buNone/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6"/>
            </a:lvl1pPr>
            <a:lvl2pPr marL="0" indent="0">
              <a:buNone/>
              <a:defRPr sz="1961"/>
            </a:lvl2pPr>
            <a:lvl3pPr marL="227165" indent="0">
              <a:buNone/>
              <a:tabLst/>
              <a:defRPr sz="1961"/>
            </a:lvl3pPr>
            <a:lvl4pPr marL="451219" indent="0">
              <a:buNone/>
              <a:defRPr/>
            </a:lvl4pPr>
            <a:lvl5pPr marL="672161" indent="0">
              <a:buNone/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321364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 1st level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2" y="1189176"/>
            <a:ext cx="5378548" cy="2377940"/>
          </a:xfrm>
        </p:spPr>
        <p:txBody>
          <a:bodyPr wrap="square">
            <a:spAutoFit/>
          </a:bodyPr>
          <a:lstStyle>
            <a:lvl1pPr marL="281623" indent="-281623">
              <a:spcBef>
                <a:spcPts val="1200"/>
              </a:spcBef>
              <a:buClr>
                <a:schemeClr val="tx2"/>
              </a:buClr>
              <a:buFont typeface="Arial" pitchFamily="34" charset="0"/>
              <a:buChar char="•"/>
              <a:defRPr sz="3136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20602" indent="-228557">
              <a:defRPr sz="2353"/>
            </a:lvl2pPr>
            <a:lvl3pPr marL="685671" indent="-165070">
              <a:tabLst/>
              <a:defRPr sz="1961"/>
            </a:lvl3pPr>
            <a:lvl4pPr marL="863437" indent="-177767">
              <a:defRPr/>
            </a:lvl4pPr>
            <a:lvl5pPr marL="1028506" indent="-165070"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2377940"/>
          </a:xfrm>
        </p:spPr>
        <p:txBody>
          <a:bodyPr wrap="square">
            <a:spAutoFit/>
          </a:bodyPr>
          <a:lstStyle>
            <a:lvl1pPr marL="281623" indent="-281623">
              <a:spcBef>
                <a:spcPts val="1200"/>
              </a:spcBef>
              <a:buClr>
                <a:schemeClr val="tx2"/>
              </a:buClr>
              <a:buFont typeface="Arial" pitchFamily="34" charset="0"/>
              <a:buChar char="•"/>
              <a:defRPr sz="3136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20602" indent="-228557">
              <a:defRPr sz="2353"/>
            </a:lvl2pPr>
            <a:lvl3pPr marL="685671" indent="-165070">
              <a:tabLst/>
              <a:defRPr sz="1961"/>
            </a:lvl3pPr>
            <a:lvl4pPr marL="863437" indent="-177767">
              <a:defRPr/>
            </a:lvl4pPr>
            <a:lvl5pPr marL="1028506" indent="-165070"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379865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2" y="1189176"/>
            <a:ext cx="5378548" cy="2377940"/>
          </a:xfrm>
        </p:spPr>
        <p:txBody>
          <a:bodyPr wrap="square">
            <a:spAutoFit/>
          </a:bodyPr>
          <a:lstStyle>
            <a:lvl1pPr marL="281623" indent="-281623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sz="3136"/>
            </a:lvl1pPr>
            <a:lvl2pPr marL="520602" indent="-228557">
              <a:defRPr sz="2353"/>
            </a:lvl2pPr>
            <a:lvl3pPr marL="685671" indent="-165070">
              <a:tabLst/>
              <a:defRPr sz="1961"/>
            </a:lvl3pPr>
            <a:lvl4pPr marL="863437" indent="-177767">
              <a:defRPr/>
            </a:lvl4pPr>
            <a:lvl5pPr marL="1028506" indent="-165070"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2377940"/>
          </a:xfrm>
        </p:spPr>
        <p:txBody>
          <a:bodyPr wrap="square">
            <a:spAutoFit/>
          </a:bodyPr>
          <a:lstStyle>
            <a:lvl1pPr marL="281623" indent="-281623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sz="3136"/>
            </a:lvl1pPr>
            <a:lvl2pPr marL="520602" indent="-228557">
              <a:defRPr sz="2353"/>
            </a:lvl2pPr>
            <a:lvl3pPr marL="685671" indent="-165070">
              <a:tabLst/>
              <a:defRPr sz="1961"/>
            </a:lvl3pPr>
            <a:lvl4pPr marL="863437" indent="-177767">
              <a:defRPr/>
            </a:lvl4pPr>
            <a:lvl5pPr marL="1028506" indent="-165070"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407738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354036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2975386" y="289511"/>
            <a:ext cx="9108056" cy="1503593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 smtClean="0"/>
              <a:t>Click to edit Master title style: second line</a:t>
            </a:r>
            <a:endParaRPr lang="en-US" dirty="0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974849" y="1897702"/>
            <a:ext cx="9106244" cy="4632407"/>
          </a:xfrm>
        </p:spPr>
        <p:txBody>
          <a:bodyPr/>
          <a:lstStyle>
            <a:lvl1pPr marL="182845" indent="-182845">
              <a:buFont typeface="Arial" panose="020B0604020202020204" pitchFamily="34" charset="0"/>
              <a:buChar char="•"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  <a:latin typeface="+mj-lt"/>
              </a:defRPr>
            </a:lvl1pPr>
            <a:lvl2pPr marL="365690" indent="-182845">
              <a:buFont typeface="Arial" panose="020B0604020202020204" pitchFamily="34" charset="0"/>
              <a:buChar char="•"/>
              <a:defRPr sz="2400">
                <a:latin typeface="+mj-lt"/>
              </a:defRPr>
            </a:lvl2pPr>
            <a:lvl3pPr marL="548535" indent="-182845">
              <a:buFont typeface="Arial" panose="020B0604020202020204" pitchFamily="34" charset="0"/>
              <a:buChar char="•"/>
              <a:defRPr sz="2000">
                <a:latin typeface="+mj-lt"/>
              </a:defRPr>
            </a:lvl3pPr>
            <a:lvl4pPr marL="733802" indent="-285695">
              <a:buFont typeface="Arial" panose="020B0604020202020204" pitchFamily="34" charset="0"/>
              <a:buChar char="•"/>
              <a:defRPr/>
            </a:lvl4pPr>
            <a:lvl5pPr marL="957856" indent="-285695"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4" name="TextBox 3"/>
          <p:cNvSpPr txBox="1"/>
          <p:nvPr userDrawn="1"/>
        </p:nvSpPr>
        <p:spPr>
          <a:xfrm>
            <a:off x="2171118" y="589830"/>
            <a:ext cx="1300504" cy="615609"/>
          </a:xfrm>
          <a:prstGeom prst="rect">
            <a:avLst/>
          </a:prstGeom>
          <a:noFill/>
        </p:spPr>
        <p:txBody>
          <a:bodyPr wrap="none" lIns="179285" tIns="143428" rIns="179285" bIns="143428" rtlCol="0">
            <a:spAutoFit/>
          </a:bodyPr>
          <a:lstStyle/>
          <a:p>
            <a:pPr algn="r" defTabSz="914367">
              <a:lnSpc>
                <a:spcPct val="90000"/>
              </a:lnSpc>
              <a:spcAft>
                <a:spcPts val="588"/>
              </a:spcAft>
            </a:pPr>
            <a:r>
              <a:rPr lang="en-US" sz="2353" dirty="0">
                <a:solidFill>
                  <a:srgbClr val="FFFFFF"/>
                </a:solidFill>
                <a:latin typeface="Segoe UI Light"/>
              </a:rPr>
              <a:t>Feature</a:t>
            </a:r>
          </a:p>
        </p:txBody>
      </p:sp>
    </p:spTree>
    <p:extLst>
      <p:ext uri="{BB962C8B-B14F-4D97-AF65-F5344CB8AC3E}">
        <p14:creationId xmlns:p14="http://schemas.microsoft.com/office/powerpoint/2010/main" val="37221166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0pt Title w/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3066877"/>
            <a:ext cx="12192000" cy="724246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baseline="0"/>
            </a:lvl1pPr>
          </a:lstStyle>
          <a:p>
            <a:r>
              <a:rPr lang="en-US" dirty="0" smtClean="0"/>
              <a:t>click icon to insert photo</a:t>
            </a:r>
            <a:endParaRPr lang="en-US" dirty="0"/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69240" y="291075"/>
            <a:ext cx="10757100" cy="1108425"/>
          </a:xfrm>
          <a:prstGeom prst="rect">
            <a:avLst/>
          </a:prstGeom>
        </p:spPr>
        <p:txBody>
          <a:bodyPr lIns="146304" tIns="91440" rIns="146304" bIns="91440">
            <a:noAutofit/>
          </a:bodyPr>
          <a:lstStyle>
            <a:lvl1pPr marL="0" indent="0">
              <a:lnSpc>
                <a:spcPct val="90000"/>
              </a:lnSpc>
              <a:spcBef>
                <a:spcPts val="1173"/>
              </a:spcBef>
              <a:spcAft>
                <a:spcPts val="2355"/>
              </a:spcAft>
              <a:buFontTx/>
              <a:buNone/>
              <a:defRPr lang="en-US" sz="6863" b="0" i="0" kern="1200" spc="0" baseline="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marR="0" lvl="0" indent="0" algn="l" defTabSz="914172" rtl="0" eaLnBrk="1" fontAlgn="auto" latinLnBrk="0" hangingPunct="1">
              <a:lnSpc>
                <a:spcPct val="90000"/>
              </a:lnSpc>
              <a:spcBef>
                <a:spcPts val="1173"/>
              </a:spcBef>
              <a:spcAft>
                <a:spcPts val="2355"/>
              </a:spcAft>
              <a:buClrTx/>
              <a:buSzPct val="90000"/>
              <a:buFontTx/>
              <a:buNone/>
              <a:tabLst/>
            </a:pPr>
            <a:r>
              <a:rPr lang="en-US" dirty="0" smtClean="0"/>
              <a:t>Click to edit Master text</a:t>
            </a:r>
          </a:p>
        </p:txBody>
      </p:sp>
    </p:spTree>
    <p:extLst>
      <p:ext uri="{BB962C8B-B14F-4D97-AF65-F5344CB8AC3E}">
        <p14:creationId xmlns:p14="http://schemas.microsoft.com/office/powerpoint/2010/main" val="30833660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2-color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48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39" y="1189176"/>
            <a:ext cx="11653523" cy="5424059"/>
          </a:xfrm>
        </p:spPr>
        <p:txBody>
          <a:bodyPr/>
          <a:lstStyle>
            <a:lvl1pPr marL="182880" indent="-182880">
              <a:buFont typeface="Arial" panose="020B0604020202020204" pitchFamily="34" charset="0"/>
              <a:buChar char="•"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  <a:latin typeface="+mj-lt"/>
              </a:defRPr>
            </a:lvl1pPr>
            <a:lvl2pPr marL="365760" indent="-182880">
              <a:buFont typeface="Arial" panose="020B0604020202020204" pitchFamily="34" charset="0"/>
              <a:buChar char="•"/>
              <a:defRPr sz="2400">
                <a:latin typeface="+mj-lt"/>
              </a:defRPr>
            </a:lvl2pPr>
            <a:lvl3pPr marL="548640" indent="-182880">
              <a:buFont typeface="Arial" panose="020B0604020202020204" pitchFamily="34" charset="0"/>
              <a:buChar char="•"/>
              <a:defRPr sz="2000">
                <a:latin typeface="+mj-lt"/>
              </a:defRPr>
            </a:lvl3pPr>
            <a:lvl4pPr marL="733943" indent="-285750">
              <a:buFont typeface="Arial" panose="020B0604020202020204" pitchFamily="34" charset="0"/>
              <a:buChar char="•"/>
              <a:defRPr/>
            </a:lvl4pPr>
            <a:lvl5pPr marL="958040" indent="-285750"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5382839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_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1" y="259792"/>
            <a:ext cx="11653521" cy="1075884"/>
          </a:xfrm>
        </p:spPr>
        <p:txBody>
          <a:bodyPr lIns="146304" tIns="91440" rIns="146304" bIns="91440"/>
          <a:lstStyle>
            <a:lvl1pPr>
              <a:lnSpc>
                <a:spcPts val="6176"/>
              </a:lnSpc>
              <a:defRPr sz="48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Lorem ipsum dolor sit.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269241" y="1365832"/>
            <a:ext cx="4358791" cy="4949771"/>
          </a:xfrm>
        </p:spPr>
        <p:txBody>
          <a:bodyPr wrap="square">
            <a:noAutofit/>
          </a:bodyPr>
          <a:lstStyle>
            <a:lvl1pPr marL="182880" indent="-18288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3200">
                <a:solidFill>
                  <a:schemeClr val="accent1"/>
                </a:solidFill>
                <a:latin typeface="+mj-lt"/>
              </a:defRPr>
            </a:lvl1pPr>
            <a:lvl2pPr marL="36576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2400">
                <a:latin typeface="+mj-lt"/>
              </a:defRPr>
            </a:lvl2pPr>
            <a:lvl3pPr marL="570109" indent="-34290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2000">
                <a:latin typeface="+mj-lt"/>
              </a:defRPr>
            </a:lvl3pPr>
            <a:lvl4pPr marL="737056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 marL="958040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2" hasCustomPrompt="1"/>
          </p:nvPr>
        </p:nvSpPr>
        <p:spPr>
          <a:xfrm>
            <a:off x="4628199" y="1335676"/>
            <a:ext cx="7294563" cy="4949353"/>
          </a:xfrm>
          <a:ln w="152400">
            <a:noFill/>
          </a:ln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Screen shot or image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75483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Co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1" y="259792"/>
            <a:ext cx="11653521" cy="1075884"/>
          </a:xfrm>
        </p:spPr>
        <p:txBody>
          <a:bodyPr lIns="146304" tIns="91440" rIns="146304" bIns="91440"/>
          <a:lstStyle>
            <a:lvl1pPr>
              <a:lnSpc>
                <a:spcPts val="6176"/>
              </a:lnSpc>
              <a:defRPr sz="48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Lorem ipsum dolor sit.</a:t>
            </a:r>
            <a:endParaRPr lang="en-US" dirty="0"/>
          </a:p>
        </p:txBody>
      </p:sp>
      <p:sp>
        <p:nvSpPr>
          <p:cNvPr id="3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824549" y="1446341"/>
            <a:ext cx="7210697" cy="5040206"/>
          </a:xfrm>
          <a:solidFill>
            <a:schemeClr val="bg1"/>
          </a:solidFill>
          <a:ln w="152400">
            <a:solidFill>
              <a:schemeClr val="accent1"/>
            </a:solidFill>
          </a:ln>
        </p:spPr>
        <p:txBody>
          <a:bodyPr wrap="square">
            <a:normAutofit/>
          </a:bodyPr>
          <a:lstStyle>
            <a:lvl1pPr marL="0" indent="0" defTabSz="365760">
              <a:lnSpc>
                <a:spcPct val="100000"/>
              </a:lnSpc>
              <a:spcBef>
                <a:spcPts val="0"/>
              </a:spcBef>
              <a:buClr>
                <a:schemeClr val="tx1"/>
              </a:buClr>
              <a:buFont typeface="Wingdings" pitchFamily="2" charset="2"/>
              <a:buNone/>
              <a:defRPr sz="1600" baseline="0">
                <a:solidFill>
                  <a:schemeClr val="accent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65760" indent="0" defTabSz="365760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accent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731520" indent="0" defTabSz="365760">
              <a:lnSpc>
                <a:spcPct val="100000"/>
              </a:lnSpc>
              <a:spcBef>
                <a:spcPts val="0"/>
              </a:spcBef>
              <a:buNone/>
              <a:tabLst/>
              <a:defRPr sz="1600">
                <a:solidFill>
                  <a:schemeClr val="accent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1097280" indent="0" defTabSz="365760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accent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463040" indent="0" defTabSz="365760">
              <a:lnSpc>
                <a:spcPct val="100000"/>
              </a:lnSpc>
              <a:spcBef>
                <a:spcPts val="0"/>
              </a:spcBef>
              <a:buNone/>
              <a:tabLst/>
              <a:defRPr sz="1600">
                <a:solidFill>
                  <a:schemeClr val="accent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 dirty="0" smtClean="0"/>
              <a:t>Click to edit code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269241" y="1335676"/>
            <a:ext cx="4358791" cy="5249851"/>
          </a:xfrm>
        </p:spPr>
        <p:txBody>
          <a:bodyPr wrap="square">
            <a:noAutofit/>
          </a:bodyPr>
          <a:lstStyle>
            <a:lvl1pPr marL="182880" indent="-18288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3200">
                <a:solidFill>
                  <a:schemeClr val="accent1"/>
                </a:solidFill>
              </a:defRPr>
            </a:lvl1pPr>
            <a:lvl2pPr marL="36576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2400"/>
            </a:lvl2pPr>
            <a:lvl3pPr marL="54864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961"/>
            </a:lvl3pPr>
            <a:lvl4pPr marL="737056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 marL="958040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9798989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48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5377878"/>
          </a:xfrm>
        </p:spPr>
        <p:txBody>
          <a:bodyPr/>
          <a:lstStyle>
            <a:lvl1pPr marL="182880" indent="-182880">
              <a:buFont typeface="Arial" panose="020B0604020202020204" pitchFamily="34" charset="0"/>
              <a:buChar char="•"/>
              <a:defRPr>
                <a:solidFill>
                  <a:schemeClr val="accent1"/>
                </a:solidFill>
                <a:latin typeface="+mj-lt"/>
              </a:defRPr>
            </a:lvl1pPr>
            <a:lvl2pPr marL="365760" indent="-182880">
              <a:buFont typeface="Arial" panose="020B0604020202020204" pitchFamily="34" charset="0"/>
              <a:buChar char="•"/>
              <a:defRPr sz="2400">
                <a:latin typeface="+mj-lt"/>
              </a:defRPr>
            </a:lvl2pPr>
            <a:lvl3pPr marL="548640" indent="-182880">
              <a:buFont typeface="Arial" panose="020B0604020202020204" pitchFamily="34" charset="0"/>
              <a:buChar char="•"/>
              <a:defRPr sz="2000">
                <a:latin typeface="+mj-lt"/>
              </a:defRPr>
            </a:lvl3pPr>
            <a:lvl4pPr marL="733943" indent="-285750">
              <a:buFont typeface="Arial" panose="020B0604020202020204" pitchFamily="34" charset="0"/>
              <a:buChar char="•"/>
              <a:defRPr/>
            </a:lvl4pPr>
            <a:lvl5pPr marL="958040" indent="-285750"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7360877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1st level colo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5340932"/>
          </a:xfrm>
        </p:spPr>
        <p:txBody>
          <a:bodyPr/>
          <a:lstStyle>
            <a:lvl1pPr marL="182880" indent="-182880">
              <a:buFont typeface="Arial" panose="020B0604020202020204" pitchFamily="34" charset="0"/>
              <a:buChar char="•"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  <a:latin typeface="+mj-lt"/>
              </a:defRPr>
            </a:lvl1pPr>
            <a:lvl2pPr marL="365760" indent="-182880">
              <a:buFont typeface="Arial" panose="020B0604020202020204" pitchFamily="34" charset="0"/>
              <a:buChar char="•"/>
              <a:defRPr sz="2400">
                <a:latin typeface="+mj-lt"/>
              </a:defRPr>
            </a:lvl2pPr>
            <a:lvl3pPr marL="548640" indent="-182880">
              <a:buFont typeface="Arial" panose="020B0604020202020204" pitchFamily="34" charset="0"/>
              <a:buChar char="•"/>
              <a:defRPr sz="2000">
                <a:latin typeface="+mj-lt"/>
              </a:defRPr>
            </a:lvl3pPr>
            <a:lvl4pPr marL="733943" indent="-285750">
              <a:buFont typeface="Arial" panose="020B0604020202020204" pitchFamily="34" charset="0"/>
              <a:buChar char="•"/>
              <a:defRPr/>
            </a:lvl4pPr>
            <a:lvl5pPr marL="958040" indent="-285750"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9550803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5340932"/>
          </a:xfrm>
        </p:spPr>
        <p:txBody>
          <a:bodyPr/>
          <a:lstStyle>
            <a:lvl1pPr marL="182880" indent="-182880">
              <a:buFont typeface="Arial" panose="020B0604020202020204" pitchFamily="34" charset="0"/>
              <a:buChar char="•"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  <a:latin typeface="+mj-lt"/>
              </a:defRPr>
            </a:lvl1pPr>
            <a:lvl2pPr marL="365760" indent="-182880">
              <a:buFont typeface="Arial" panose="020B0604020202020204" pitchFamily="34" charset="0"/>
              <a:buChar char="•"/>
              <a:defRPr sz="2400">
                <a:latin typeface="+mj-lt"/>
              </a:defRPr>
            </a:lvl2pPr>
            <a:lvl3pPr marL="548640" indent="-182880">
              <a:buFont typeface="Arial" panose="020B0604020202020204" pitchFamily="34" charset="0"/>
              <a:buChar char="•"/>
              <a:defRPr sz="2000">
                <a:latin typeface="+mj-lt"/>
              </a:defRPr>
            </a:lvl3pPr>
            <a:lvl4pPr marL="733943" indent="-285750">
              <a:buFont typeface="Arial" panose="020B0604020202020204" pitchFamily="34" charset="0"/>
              <a:buChar char="•"/>
              <a:defRPr/>
            </a:lvl4pPr>
            <a:lvl5pPr marL="958040" indent="-285750"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7810002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2-color Non-bulle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269241" y="1189176"/>
            <a:ext cx="5486400" cy="5396352"/>
          </a:xfrm>
        </p:spPr>
        <p:txBody>
          <a:bodyPr wrap="square">
            <a:noAutofit/>
          </a:bodyPr>
          <a:lstStyle>
            <a:lvl1pPr marL="182880" indent="-18288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3200">
                <a:solidFill>
                  <a:schemeClr val="accent1"/>
                </a:solidFill>
              </a:defRPr>
            </a:lvl1pPr>
            <a:lvl2pPr marL="36576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2400"/>
            </a:lvl2pPr>
            <a:lvl3pPr marL="54864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961"/>
            </a:lvl3pPr>
            <a:lvl4pPr marL="737056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 marL="958040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410037" y="1189176"/>
            <a:ext cx="5486400" cy="5396352"/>
          </a:xfrm>
        </p:spPr>
        <p:txBody>
          <a:bodyPr wrap="square">
            <a:noAutofit/>
          </a:bodyPr>
          <a:lstStyle>
            <a:lvl1pPr marL="182880" indent="-18288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3200">
                <a:solidFill>
                  <a:schemeClr val="accent1"/>
                </a:solidFill>
              </a:defRPr>
            </a:lvl1pPr>
            <a:lvl2pPr marL="36576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2400"/>
            </a:lvl2pPr>
            <a:lvl3pPr marL="54864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961"/>
            </a:lvl3pPr>
            <a:lvl4pPr marL="737056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 marL="958040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2151357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269241" y="1189176"/>
            <a:ext cx="5486400" cy="5396352"/>
          </a:xfrm>
        </p:spPr>
        <p:txBody>
          <a:bodyPr wrap="square">
            <a:noAutofit/>
          </a:bodyPr>
          <a:lstStyle>
            <a:lvl1pPr marL="182880" indent="-18288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3200">
                <a:solidFill>
                  <a:schemeClr val="accent1"/>
                </a:solidFill>
              </a:defRPr>
            </a:lvl1pPr>
            <a:lvl2pPr marL="36576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2400"/>
            </a:lvl2pPr>
            <a:lvl3pPr marL="54864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961"/>
            </a:lvl3pPr>
            <a:lvl4pPr marL="737056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 marL="958040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410037" y="1189176"/>
            <a:ext cx="5486400" cy="5396352"/>
          </a:xfrm>
        </p:spPr>
        <p:txBody>
          <a:bodyPr wrap="square">
            <a:noAutofit/>
          </a:bodyPr>
          <a:lstStyle>
            <a:lvl1pPr marL="182880" indent="-18288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3200">
                <a:solidFill>
                  <a:schemeClr val="accent1"/>
                </a:solidFill>
              </a:defRPr>
            </a:lvl1pPr>
            <a:lvl2pPr marL="36576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2400"/>
            </a:lvl2pPr>
            <a:lvl3pPr marL="54864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961"/>
            </a:lvl3pPr>
            <a:lvl4pPr marL="737056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 marL="958040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4088986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 1st level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269241" y="1189176"/>
            <a:ext cx="5486400" cy="5396352"/>
          </a:xfrm>
        </p:spPr>
        <p:txBody>
          <a:bodyPr wrap="square">
            <a:noAutofit/>
          </a:bodyPr>
          <a:lstStyle>
            <a:lvl1pPr marL="182880" indent="-18288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3200">
                <a:solidFill>
                  <a:schemeClr val="accent1"/>
                </a:solidFill>
              </a:defRPr>
            </a:lvl1pPr>
            <a:lvl2pPr marL="36576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2400"/>
            </a:lvl2pPr>
            <a:lvl3pPr marL="54864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961"/>
            </a:lvl3pPr>
            <a:lvl4pPr marL="737056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 marL="958040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410037" y="1189176"/>
            <a:ext cx="5486400" cy="5396352"/>
          </a:xfrm>
        </p:spPr>
        <p:txBody>
          <a:bodyPr wrap="square">
            <a:noAutofit/>
          </a:bodyPr>
          <a:lstStyle>
            <a:lvl1pPr marL="182880" indent="-18288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3200">
                <a:solidFill>
                  <a:schemeClr val="accent1"/>
                </a:solidFill>
              </a:defRPr>
            </a:lvl1pPr>
            <a:lvl2pPr marL="36576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2400"/>
            </a:lvl2pPr>
            <a:lvl3pPr marL="54864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961"/>
            </a:lvl3pPr>
            <a:lvl4pPr marL="737056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 marL="958040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4397884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2975386" y="289511"/>
            <a:ext cx="9108056" cy="1503593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 smtClean="0"/>
              <a:t>Click to edit Master title style: second line</a:t>
            </a:r>
            <a:endParaRPr lang="en-US" dirty="0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974849" y="1897702"/>
            <a:ext cx="4969616" cy="4632407"/>
          </a:xfrm>
        </p:spPr>
        <p:txBody>
          <a:bodyPr/>
          <a:lstStyle>
            <a:lvl1pPr marL="182845" indent="-182845">
              <a:buFont typeface="Arial" panose="020B0604020202020204" pitchFamily="34" charset="0"/>
              <a:buChar char="•"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  <a:latin typeface="+mj-lt"/>
              </a:defRPr>
            </a:lvl1pPr>
            <a:lvl2pPr marL="406400" indent="-182563">
              <a:buFont typeface="Segoe UI Light" panose="020B0502040204020203" pitchFamily="34" charset="0"/>
              <a:buChar char="−"/>
              <a:defRPr sz="3200">
                <a:latin typeface="+mj-lt"/>
              </a:defRPr>
            </a:lvl2pPr>
            <a:lvl3pPr marL="635000" indent="-182563">
              <a:buFont typeface="Courier New" panose="02070309020205020404" pitchFamily="49" charset="0"/>
              <a:buChar char="o"/>
              <a:defRPr sz="2800">
                <a:latin typeface="+mj-lt"/>
              </a:defRPr>
            </a:lvl3pPr>
            <a:lvl4pPr marL="733802" indent="-285695">
              <a:buFont typeface="Arial" panose="020B0604020202020204" pitchFamily="34" charset="0"/>
              <a:buChar char="•"/>
              <a:defRPr/>
            </a:lvl4pPr>
            <a:lvl5pPr marL="957856" indent="-285695"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4" name="TextBox 3"/>
          <p:cNvSpPr txBox="1"/>
          <p:nvPr userDrawn="1"/>
        </p:nvSpPr>
        <p:spPr>
          <a:xfrm>
            <a:off x="2171118" y="589830"/>
            <a:ext cx="1300504" cy="615609"/>
          </a:xfrm>
          <a:prstGeom prst="rect">
            <a:avLst/>
          </a:prstGeom>
          <a:noFill/>
        </p:spPr>
        <p:txBody>
          <a:bodyPr wrap="none" lIns="179285" tIns="143428" rIns="179285" bIns="143428" rtlCol="0">
            <a:spAutoFit/>
          </a:bodyPr>
          <a:lstStyle/>
          <a:p>
            <a:pPr algn="r" defTabSz="914367">
              <a:lnSpc>
                <a:spcPct val="90000"/>
              </a:lnSpc>
              <a:spcAft>
                <a:spcPts val="588"/>
              </a:spcAft>
            </a:pPr>
            <a:r>
              <a:rPr lang="en-US" sz="2353" dirty="0">
                <a:solidFill>
                  <a:srgbClr val="FFFFFF"/>
                </a:solidFill>
                <a:latin typeface="Segoe UI Light"/>
              </a:rPr>
              <a:t>Feature</a:t>
            </a:r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12" hasCustomPrompt="1"/>
          </p:nvPr>
        </p:nvSpPr>
        <p:spPr>
          <a:xfrm>
            <a:off x="8096277" y="2376546"/>
            <a:ext cx="3492285" cy="3893625"/>
          </a:xfrm>
          <a:ln w="152400">
            <a:noFill/>
          </a:ln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Screen shot or image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847797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269241" y="1189176"/>
            <a:ext cx="5486400" cy="5396352"/>
          </a:xfrm>
        </p:spPr>
        <p:txBody>
          <a:bodyPr wrap="square">
            <a:noAutofit/>
          </a:bodyPr>
          <a:lstStyle>
            <a:lvl1pPr marL="182880" indent="-18288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3200">
                <a:solidFill>
                  <a:schemeClr val="accent1"/>
                </a:solidFill>
              </a:defRPr>
            </a:lvl1pPr>
            <a:lvl2pPr marL="36576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2400"/>
            </a:lvl2pPr>
            <a:lvl3pPr marL="54864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961"/>
            </a:lvl3pPr>
            <a:lvl4pPr marL="737056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 marL="958040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410037" y="1189176"/>
            <a:ext cx="5486400" cy="5396352"/>
          </a:xfrm>
        </p:spPr>
        <p:txBody>
          <a:bodyPr wrap="square">
            <a:noAutofit/>
          </a:bodyPr>
          <a:lstStyle>
            <a:lvl1pPr marL="182880" indent="-18288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3200">
                <a:solidFill>
                  <a:schemeClr val="accent1"/>
                </a:solidFill>
              </a:defRPr>
            </a:lvl1pPr>
            <a:lvl2pPr marL="36576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2400"/>
            </a:lvl2pPr>
            <a:lvl3pPr marL="54864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961"/>
            </a:lvl3pPr>
            <a:lvl4pPr marL="737056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 marL="958040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7256499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390623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2-color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239" y="289511"/>
            <a:ext cx="11655840" cy="899665"/>
          </a:xfrm>
        </p:spPr>
        <p:txBody>
          <a:bodyPr/>
          <a:lstStyle>
            <a:lvl1pPr>
              <a:defRPr sz="4800"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39" y="1189176"/>
            <a:ext cx="11653523" cy="5424059"/>
          </a:xfrm>
        </p:spPr>
        <p:txBody>
          <a:bodyPr/>
          <a:lstStyle>
            <a:lvl1pPr marL="182880" indent="-182880">
              <a:buFont typeface="Arial" panose="020B0604020202020204" pitchFamily="34" charset="0"/>
              <a:buChar char="•"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  <a:latin typeface="+mj-lt"/>
              </a:defRPr>
            </a:lvl1pPr>
            <a:lvl2pPr marL="365760" indent="-182880">
              <a:buFont typeface="Arial" panose="020B0604020202020204" pitchFamily="34" charset="0"/>
              <a:buChar char="•"/>
              <a:defRPr sz="2400">
                <a:latin typeface="+mj-lt"/>
              </a:defRPr>
            </a:lvl2pPr>
            <a:lvl3pPr marL="548640" indent="-182880">
              <a:buFont typeface="Arial" panose="020B0604020202020204" pitchFamily="34" charset="0"/>
              <a:buChar char="•"/>
              <a:defRPr sz="2000">
                <a:latin typeface="+mj-lt"/>
              </a:defRPr>
            </a:lvl3pPr>
            <a:lvl4pPr marL="733943" indent="-285750">
              <a:buFont typeface="Arial" panose="020B0604020202020204" pitchFamily="34" charset="0"/>
              <a:buChar char="•"/>
              <a:defRPr/>
            </a:lvl4pPr>
            <a:lvl5pPr marL="958040" indent="-285750"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2617251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_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1" y="259792"/>
            <a:ext cx="11653521" cy="1075884"/>
          </a:xfrm>
        </p:spPr>
        <p:txBody>
          <a:bodyPr lIns="146304" tIns="91440" rIns="146304" bIns="91440"/>
          <a:lstStyle>
            <a:lvl1pPr>
              <a:lnSpc>
                <a:spcPts val="6176"/>
              </a:lnSpc>
              <a:defRPr sz="4800" baseline="0"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Lorem ipsum dolor sit.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269241" y="1365832"/>
            <a:ext cx="4358791" cy="4949771"/>
          </a:xfrm>
        </p:spPr>
        <p:txBody>
          <a:bodyPr wrap="square">
            <a:noAutofit/>
          </a:bodyPr>
          <a:lstStyle>
            <a:lvl1pPr marL="182880" indent="-18288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3200">
                <a:solidFill>
                  <a:schemeClr val="accent1"/>
                </a:solidFill>
                <a:latin typeface="+mj-lt"/>
              </a:defRPr>
            </a:lvl1pPr>
            <a:lvl2pPr marL="36576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2400">
                <a:latin typeface="+mj-lt"/>
              </a:defRPr>
            </a:lvl2pPr>
            <a:lvl3pPr marL="570109" indent="-34290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2000">
                <a:latin typeface="+mj-lt"/>
              </a:defRPr>
            </a:lvl3pPr>
            <a:lvl4pPr marL="737056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 marL="958040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2" hasCustomPrompt="1"/>
          </p:nvPr>
        </p:nvSpPr>
        <p:spPr>
          <a:xfrm>
            <a:off x="4628199" y="1335676"/>
            <a:ext cx="7294563" cy="4949353"/>
          </a:xfrm>
          <a:ln w="152400">
            <a:noFill/>
          </a:ln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Screen shot or image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793585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Co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1" y="259792"/>
            <a:ext cx="11653521" cy="1075884"/>
          </a:xfrm>
        </p:spPr>
        <p:txBody>
          <a:bodyPr lIns="146304" tIns="91440" rIns="146304" bIns="91440"/>
          <a:lstStyle>
            <a:lvl1pPr>
              <a:lnSpc>
                <a:spcPts val="6176"/>
              </a:lnSpc>
              <a:defRPr sz="4800" baseline="0"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Lorem ipsum dolor sit.</a:t>
            </a:r>
            <a:endParaRPr lang="en-US" dirty="0"/>
          </a:p>
        </p:txBody>
      </p:sp>
      <p:sp>
        <p:nvSpPr>
          <p:cNvPr id="3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824549" y="1446341"/>
            <a:ext cx="7210697" cy="5040206"/>
          </a:xfrm>
          <a:solidFill>
            <a:schemeClr val="bg1"/>
          </a:solidFill>
          <a:ln w="152400">
            <a:solidFill>
              <a:schemeClr val="accent1"/>
            </a:solidFill>
          </a:ln>
        </p:spPr>
        <p:txBody>
          <a:bodyPr wrap="square">
            <a:normAutofit/>
          </a:bodyPr>
          <a:lstStyle>
            <a:lvl1pPr marL="0" indent="0" defTabSz="365760">
              <a:lnSpc>
                <a:spcPct val="100000"/>
              </a:lnSpc>
              <a:spcBef>
                <a:spcPts val="0"/>
              </a:spcBef>
              <a:buClr>
                <a:schemeClr val="tx1"/>
              </a:buClr>
              <a:buFont typeface="Wingdings" pitchFamily="2" charset="2"/>
              <a:buNone/>
              <a:defRPr sz="1600" baseline="0">
                <a:solidFill>
                  <a:schemeClr val="accent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65760" indent="0" defTabSz="365760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accent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731520" indent="0" defTabSz="365760">
              <a:lnSpc>
                <a:spcPct val="100000"/>
              </a:lnSpc>
              <a:spcBef>
                <a:spcPts val="0"/>
              </a:spcBef>
              <a:buNone/>
              <a:tabLst/>
              <a:defRPr sz="1600">
                <a:solidFill>
                  <a:schemeClr val="accent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1097280" indent="0" defTabSz="365760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accent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463040" indent="0" defTabSz="365760">
              <a:lnSpc>
                <a:spcPct val="100000"/>
              </a:lnSpc>
              <a:spcBef>
                <a:spcPts val="0"/>
              </a:spcBef>
              <a:buNone/>
              <a:tabLst/>
              <a:defRPr sz="1600">
                <a:solidFill>
                  <a:schemeClr val="accent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 dirty="0" smtClean="0"/>
              <a:t>Click to edit code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269241" y="1335676"/>
            <a:ext cx="4358791" cy="5249851"/>
          </a:xfrm>
        </p:spPr>
        <p:txBody>
          <a:bodyPr wrap="square">
            <a:noAutofit/>
          </a:bodyPr>
          <a:lstStyle>
            <a:lvl1pPr marL="182880" indent="-18288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3200">
                <a:solidFill>
                  <a:schemeClr val="accent1"/>
                </a:solidFill>
              </a:defRPr>
            </a:lvl1pPr>
            <a:lvl2pPr marL="36576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2400"/>
            </a:lvl2pPr>
            <a:lvl3pPr marL="54864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961"/>
            </a:lvl3pPr>
            <a:lvl4pPr marL="737056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 marL="958040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8978622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48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5377878"/>
          </a:xfrm>
        </p:spPr>
        <p:txBody>
          <a:bodyPr/>
          <a:lstStyle>
            <a:lvl1pPr marL="182880" indent="-182880">
              <a:buFont typeface="Arial" panose="020B0604020202020204" pitchFamily="34" charset="0"/>
              <a:buChar char="•"/>
              <a:defRPr>
                <a:solidFill>
                  <a:schemeClr val="accent1"/>
                </a:solidFill>
                <a:latin typeface="+mj-lt"/>
              </a:defRPr>
            </a:lvl1pPr>
            <a:lvl2pPr marL="365760" indent="-182880">
              <a:buFont typeface="Arial" panose="020B0604020202020204" pitchFamily="34" charset="0"/>
              <a:buChar char="•"/>
              <a:defRPr sz="2400">
                <a:latin typeface="+mj-lt"/>
              </a:defRPr>
            </a:lvl2pPr>
            <a:lvl3pPr marL="548640" indent="-182880">
              <a:buFont typeface="Arial" panose="020B0604020202020204" pitchFamily="34" charset="0"/>
              <a:buChar char="•"/>
              <a:defRPr sz="2000">
                <a:latin typeface="+mj-lt"/>
              </a:defRPr>
            </a:lvl3pPr>
            <a:lvl4pPr marL="733943" indent="-285750">
              <a:buFont typeface="Arial" panose="020B0604020202020204" pitchFamily="34" charset="0"/>
              <a:buChar char="•"/>
              <a:defRPr/>
            </a:lvl4pPr>
            <a:lvl5pPr marL="958040" indent="-285750"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42601611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1st level colo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5340932"/>
          </a:xfrm>
        </p:spPr>
        <p:txBody>
          <a:bodyPr/>
          <a:lstStyle>
            <a:lvl1pPr marL="182880" indent="-182880">
              <a:buFont typeface="Arial" panose="020B0604020202020204" pitchFamily="34" charset="0"/>
              <a:buChar char="•"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  <a:latin typeface="+mj-lt"/>
              </a:defRPr>
            </a:lvl1pPr>
            <a:lvl2pPr marL="365760" indent="-182880">
              <a:buFont typeface="Arial" panose="020B0604020202020204" pitchFamily="34" charset="0"/>
              <a:buChar char="•"/>
              <a:defRPr sz="2400">
                <a:latin typeface="+mj-lt"/>
              </a:defRPr>
            </a:lvl2pPr>
            <a:lvl3pPr marL="548640" indent="-182880">
              <a:buFont typeface="Arial" panose="020B0604020202020204" pitchFamily="34" charset="0"/>
              <a:buChar char="•"/>
              <a:defRPr sz="2000">
                <a:latin typeface="+mj-lt"/>
              </a:defRPr>
            </a:lvl3pPr>
            <a:lvl4pPr marL="733943" indent="-285750">
              <a:buFont typeface="Arial" panose="020B0604020202020204" pitchFamily="34" charset="0"/>
              <a:buChar char="•"/>
              <a:defRPr/>
            </a:lvl4pPr>
            <a:lvl5pPr marL="958040" indent="-285750"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4922784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5340932"/>
          </a:xfrm>
        </p:spPr>
        <p:txBody>
          <a:bodyPr/>
          <a:lstStyle>
            <a:lvl1pPr marL="182880" indent="-182880">
              <a:buFont typeface="Arial" panose="020B0604020202020204" pitchFamily="34" charset="0"/>
              <a:buChar char="•"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  <a:latin typeface="+mj-lt"/>
              </a:defRPr>
            </a:lvl1pPr>
            <a:lvl2pPr marL="365760" indent="-182880">
              <a:buFont typeface="Arial" panose="020B0604020202020204" pitchFamily="34" charset="0"/>
              <a:buChar char="•"/>
              <a:defRPr sz="2400">
                <a:latin typeface="+mj-lt"/>
              </a:defRPr>
            </a:lvl2pPr>
            <a:lvl3pPr marL="548640" indent="-182880">
              <a:buFont typeface="Arial" panose="020B0604020202020204" pitchFamily="34" charset="0"/>
              <a:buChar char="•"/>
              <a:defRPr sz="2000">
                <a:latin typeface="+mj-lt"/>
              </a:defRPr>
            </a:lvl3pPr>
            <a:lvl4pPr marL="733943" indent="-285750">
              <a:buFont typeface="Arial" panose="020B0604020202020204" pitchFamily="34" charset="0"/>
              <a:buChar char="•"/>
              <a:defRPr/>
            </a:lvl4pPr>
            <a:lvl5pPr marL="958040" indent="-285750"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9941343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2-color Non-bulle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269241" y="1189176"/>
            <a:ext cx="5486400" cy="5396352"/>
          </a:xfrm>
        </p:spPr>
        <p:txBody>
          <a:bodyPr wrap="square">
            <a:noAutofit/>
          </a:bodyPr>
          <a:lstStyle>
            <a:lvl1pPr marL="182880" indent="-18288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3200">
                <a:solidFill>
                  <a:schemeClr val="accent1"/>
                </a:solidFill>
              </a:defRPr>
            </a:lvl1pPr>
            <a:lvl2pPr marL="36576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2400"/>
            </a:lvl2pPr>
            <a:lvl3pPr marL="54864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961"/>
            </a:lvl3pPr>
            <a:lvl4pPr marL="737056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 marL="958040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410037" y="1189176"/>
            <a:ext cx="5486400" cy="5396352"/>
          </a:xfrm>
        </p:spPr>
        <p:txBody>
          <a:bodyPr wrap="square">
            <a:noAutofit/>
          </a:bodyPr>
          <a:lstStyle>
            <a:lvl1pPr marL="182880" indent="-18288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3200">
                <a:solidFill>
                  <a:schemeClr val="accent1"/>
                </a:solidFill>
              </a:defRPr>
            </a:lvl1pPr>
            <a:lvl2pPr marL="36576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2400"/>
            </a:lvl2pPr>
            <a:lvl3pPr marL="54864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961"/>
            </a:lvl3pPr>
            <a:lvl4pPr marL="737056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 marL="958040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4831206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269241" y="1189176"/>
            <a:ext cx="5486400" cy="5396352"/>
          </a:xfrm>
        </p:spPr>
        <p:txBody>
          <a:bodyPr wrap="square">
            <a:noAutofit/>
          </a:bodyPr>
          <a:lstStyle>
            <a:lvl1pPr marL="182880" indent="-18288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3200">
                <a:solidFill>
                  <a:schemeClr val="accent1"/>
                </a:solidFill>
              </a:defRPr>
            </a:lvl1pPr>
            <a:lvl2pPr marL="36576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2400"/>
            </a:lvl2pPr>
            <a:lvl3pPr marL="54864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961"/>
            </a:lvl3pPr>
            <a:lvl4pPr marL="737056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 marL="958040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410037" y="1189176"/>
            <a:ext cx="5486400" cy="5396352"/>
          </a:xfrm>
        </p:spPr>
        <p:txBody>
          <a:bodyPr wrap="square">
            <a:noAutofit/>
          </a:bodyPr>
          <a:lstStyle>
            <a:lvl1pPr marL="182880" indent="-18288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3200">
                <a:solidFill>
                  <a:schemeClr val="accent1"/>
                </a:solidFill>
              </a:defRPr>
            </a:lvl1pPr>
            <a:lvl2pPr marL="36576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2400"/>
            </a:lvl2pPr>
            <a:lvl3pPr marL="54864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961"/>
            </a:lvl3pPr>
            <a:lvl4pPr marL="737056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 marL="958040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2658982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40" y="1867817"/>
            <a:ext cx="11653523" cy="4662292"/>
          </a:xfrm>
        </p:spPr>
        <p:txBody>
          <a:bodyPr/>
          <a:lstStyle>
            <a:lvl1pPr marL="182845" indent="-182845">
              <a:buFont typeface="Arial" panose="020B0604020202020204" pitchFamily="34" charset="0"/>
              <a:buChar char="•"/>
              <a:defRPr sz="3137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  <a:latin typeface="+mj-lt"/>
              </a:defRPr>
            </a:lvl1pPr>
            <a:lvl2pPr marL="365690" indent="-182845">
              <a:buFont typeface="Arial" panose="020B0604020202020204" pitchFamily="34" charset="0"/>
              <a:buChar char="•"/>
              <a:defRPr sz="1961">
                <a:latin typeface="+mj-lt"/>
              </a:defRPr>
            </a:lvl2pPr>
            <a:lvl3pPr marL="548535" indent="-182845">
              <a:buFont typeface="Arial" panose="020B0604020202020204" pitchFamily="34" charset="0"/>
              <a:buChar char="•"/>
              <a:defRPr sz="1765">
                <a:latin typeface="+mj-lt"/>
              </a:defRPr>
            </a:lvl3pPr>
            <a:lvl4pPr marL="733802" indent="-285695">
              <a:buFont typeface="Arial" panose="020B0604020202020204" pitchFamily="34" charset="0"/>
              <a:buChar char="•"/>
              <a:defRPr/>
            </a:lvl4pPr>
            <a:lvl5pPr marL="957856" indent="-285695"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2" name="TextBox 1"/>
          <p:cNvSpPr txBox="1"/>
          <p:nvPr userDrawn="1"/>
        </p:nvSpPr>
        <p:spPr>
          <a:xfrm>
            <a:off x="269241" y="1189176"/>
            <a:ext cx="362135" cy="615609"/>
          </a:xfrm>
          <a:prstGeom prst="rect">
            <a:avLst/>
          </a:prstGeom>
          <a:noFill/>
        </p:spPr>
        <p:txBody>
          <a:bodyPr wrap="none" lIns="179285" tIns="143428" rIns="179285" bIns="143428" rtlCol="0">
            <a:spAutoFit/>
          </a:bodyPr>
          <a:lstStyle/>
          <a:p>
            <a:pPr defTabSz="914367">
              <a:lnSpc>
                <a:spcPct val="90000"/>
              </a:lnSpc>
              <a:spcAft>
                <a:spcPts val="588"/>
              </a:spcAft>
            </a:pPr>
            <a:endParaRPr lang="en-US" sz="2353" dirty="0" err="1">
              <a:gradFill>
                <a:gsLst>
                  <a:gs pos="2917">
                    <a:srgbClr val="000000"/>
                  </a:gs>
                  <a:gs pos="30000">
                    <a:srgbClr val="000000"/>
                  </a:gs>
                </a:gsLst>
                <a:lin ang="5400000" scaled="0"/>
              </a:gra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269240" y="1220691"/>
            <a:ext cx="11653523" cy="615609"/>
          </a:xfrm>
        </p:spPr>
        <p:txBody>
          <a:bodyPr/>
          <a:lstStyle>
            <a:lvl1pPr marL="0" indent="0">
              <a:buNone/>
              <a:defRPr sz="3137"/>
            </a:lvl1pPr>
            <a:lvl2pPr>
              <a:defRPr sz="1765"/>
            </a:lvl2pPr>
            <a:lvl3pPr>
              <a:defRPr sz="1568"/>
            </a:lvl3pPr>
            <a:lvl4pPr>
              <a:defRPr sz="1372"/>
            </a:lvl4pPr>
            <a:lvl5pPr>
              <a:defRPr sz="1372"/>
            </a:lvl5pPr>
          </a:lstStyle>
          <a:p>
            <a:pPr lvl="0"/>
            <a:r>
              <a:rPr lang="en-US" dirty="0" smtClean="0"/>
              <a:t>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109690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 1st level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269241" y="1189176"/>
            <a:ext cx="5486400" cy="5396352"/>
          </a:xfrm>
        </p:spPr>
        <p:txBody>
          <a:bodyPr wrap="square">
            <a:noAutofit/>
          </a:bodyPr>
          <a:lstStyle>
            <a:lvl1pPr marL="182880" indent="-18288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3200">
                <a:solidFill>
                  <a:schemeClr val="accent1"/>
                </a:solidFill>
              </a:defRPr>
            </a:lvl1pPr>
            <a:lvl2pPr marL="36576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2400"/>
            </a:lvl2pPr>
            <a:lvl3pPr marL="54864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961"/>
            </a:lvl3pPr>
            <a:lvl4pPr marL="737056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 marL="958040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410037" y="1189176"/>
            <a:ext cx="5486400" cy="5396352"/>
          </a:xfrm>
        </p:spPr>
        <p:txBody>
          <a:bodyPr wrap="square">
            <a:noAutofit/>
          </a:bodyPr>
          <a:lstStyle>
            <a:lvl1pPr marL="182880" indent="-18288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3200">
                <a:solidFill>
                  <a:schemeClr val="accent1"/>
                </a:solidFill>
              </a:defRPr>
            </a:lvl1pPr>
            <a:lvl2pPr marL="36576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2400"/>
            </a:lvl2pPr>
            <a:lvl3pPr marL="54864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961"/>
            </a:lvl3pPr>
            <a:lvl4pPr marL="737056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 marL="958040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504739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269241" y="1189176"/>
            <a:ext cx="5486400" cy="5396352"/>
          </a:xfrm>
        </p:spPr>
        <p:txBody>
          <a:bodyPr wrap="square">
            <a:noAutofit/>
          </a:bodyPr>
          <a:lstStyle>
            <a:lvl1pPr marL="182880" indent="-18288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3200">
                <a:solidFill>
                  <a:schemeClr val="accent1"/>
                </a:solidFill>
              </a:defRPr>
            </a:lvl1pPr>
            <a:lvl2pPr marL="36576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2400"/>
            </a:lvl2pPr>
            <a:lvl3pPr marL="54864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961"/>
            </a:lvl3pPr>
            <a:lvl4pPr marL="737056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 marL="958040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410037" y="1189176"/>
            <a:ext cx="5486400" cy="5396352"/>
          </a:xfrm>
        </p:spPr>
        <p:txBody>
          <a:bodyPr wrap="square">
            <a:noAutofit/>
          </a:bodyPr>
          <a:lstStyle>
            <a:lvl1pPr marL="182880" indent="-18288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3200">
                <a:solidFill>
                  <a:schemeClr val="accent1"/>
                </a:solidFill>
              </a:defRPr>
            </a:lvl1pPr>
            <a:lvl2pPr marL="36576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2400"/>
            </a:lvl2pPr>
            <a:lvl3pPr marL="54864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961"/>
            </a:lvl3pPr>
            <a:lvl4pPr marL="737056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 marL="958040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4466432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39601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924083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2-color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198564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20354">
                      <a:schemeClr val="tx2"/>
                    </a:gs>
                    <a:gs pos="40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4079" indent="0">
              <a:buNone/>
              <a:defRPr/>
            </a:lvl3pPr>
            <a:lvl4pPr marL="448157" indent="0">
              <a:buNone/>
              <a:defRPr/>
            </a:lvl4pPr>
            <a:lvl5pPr marL="672236" indent="0"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580301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198564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1"/>
                    </a:gs>
                    <a:gs pos="99000">
                      <a:schemeClr val="tx1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4079" indent="0">
              <a:buNone/>
              <a:defRPr/>
            </a:lvl3pPr>
            <a:lvl4pPr marL="448157" indent="0">
              <a:buNone/>
              <a:defRPr/>
            </a:lvl4pPr>
            <a:lvl5pPr marL="672236" indent="0"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606332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1st level colo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39" y="1189178"/>
            <a:ext cx="11653523" cy="2052030"/>
          </a:xfrm>
        </p:spPr>
        <p:txBody>
          <a:bodyPr>
            <a:spAutoFit/>
          </a:bodyPr>
          <a:lstStyle>
            <a:lvl1pPr>
              <a:buClr>
                <a:schemeClr val="tx2"/>
              </a:buClr>
              <a:defRPr sz="3921">
                <a:gradFill>
                  <a:gsLst>
                    <a:gs pos="7080">
                      <a:schemeClr val="tx2"/>
                    </a:gs>
                    <a:gs pos="36283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929831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39" y="1189178"/>
            <a:ext cx="11653523" cy="2052030"/>
          </a:xfrm>
        </p:spPr>
        <p:txBody>
          <a:bodyPr>
            <a:spAutoFit/>
          </a:bodyPr>
          <a:lstStyle>
            <a:lvl1pPr>
              <a:defRPr sz="3921"/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65406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2-color Non-bulle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2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7">
                <a:gradFill>
                  <a:gsLst>
                    <a:gs pos="12389">
                      <a:schemeClr val="tx2"/>
                    </a:gs>
                    <a:gs pos="31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1961"/>
            </a:lvl2pPr>
            <a:lvl3pPr marL="227191" indent="0">
              <a:buNone/>
              <a:tabLst/>
              <a:defRPr sz="1961"/>
            </a:lvl3pPr>
            <a:lvl4pPr marL="451269" indent="0">
              <a:buNone/>
              <a:defRPr/>
            </a:lvl4pPr>
            <a:lvl5pPr marL="672236" indent="0">
              <a:buNone/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5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7">
                <a:gradFill>
                  <a:gsLst>
                    <a:gs pos="12389">
                      <a:schemeClr val="tx2"/>
                    </a:gs>
                    <a:gs pos="31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1961"/>
            </a:lvl2pPr>
            <a:lvl3pPr marL="227191" indent="0">
              <a:buNone/>
              <a:tabLst/>
              <a:defRPr sz="1961"/>
            </a:lvl3pPr>
            <a:lvl4pPr marL="451269" indent="0">
              <a:buNone/>
              <a:defRPr/>
            </a:lvl4pPr>
            <a:lvl5pPr marL="672236" indent="0">
              <a:buNone/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44145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2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7"/>
            </a:lvl1pPr>
            <a:lvl2pPr marL="0" indent="0">
              <a:buNone/>
              <a:defRPr sz="1961"/>
            </a:lvl2pPr>
            <a:lvl3pPr marL="227191" indent="0">
              <a:buNone/>
              <a:tabLst/>
              <a:defRPr sz="1961"/>
            </a:lvl3pPr>
            <a:lvl4pPr marL="451269" indent="0">
              <a:buNone/>
              <a:defRPr/>
            </a:lvl4pPr>
            <a:lvl5pPr marL="672236" indent="0">
              <a:buNone/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5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7"/>
            </a:lvl1pPr>
            <a:lvl2pPr marL="0" indent="0">
              <a:buNone/>
              <a:defRPr sz="1961"/>
            </a:lvl2pPr>
            <a:lvl3pPr marL="227191" indent="0">
              <a:buNone/>
              <a:tabLst/>
              <a:defRPr sz="1961"/>
            </a:lvl3pPr>
            <a:lvl4pPr marL="451269" indent="0">
              <a:buNone/>
              <a:defRPr/>
            </a:lvl4pPr>
            <a:lvl5pPr marL="672236" indent="0">
              <a:buNone/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77111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07539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 1st level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2" y="1189176"/>
            <a:ext cx="5378548" cy="2377940"/>
          </a:xfrm>
        </p:spPr>
        <p:txBody>
          <a:bodyPr wrap="square">
            <a:spAutoFit/>
          </a:bodyPr>
          <a:lstStyle>
            <a:lvl1pPr marL="281655" indent="-281655">
              <a:spcBef>
                <a:spcPts val="12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3137">
                <a:gradFill>
                  <a:gsLst>
                    <a:gs pos="19469">
                      <a:schemeClr val="tx2"/>
                    </a:gs>
                    <a:gs pos="32000">
                      <a:schemeClr val="tx2"/>
                    </a:gs>
                  </a:gsLst>
                  <a:lin ang="5400000" scaled="0"/>
                </a:gradFill>
              </a:defRPr>
            </a:lvl1pPr>
            <a:lvl2pPr marL="520660" indent="-228582">
              <a:buFont typeface="Wingdings" panose="05000000000000000000" pitchFamily="2" charset="2"/>
              <a:buChar char="§"/>
              <a:defRPr sz="2353"/>
            </a:lvl2pPr>
            <a:lvl3pPr marL="685748" indent="-165088">
              <a:buFont typeface="Wingdings" panose="05000000000000000000" pitchFamily="2" charset="2"/>
              <a:buChar char="§"/>
              <a:tabLst/>
              <a:defRPr sz="1961"/>
            </a:lvl3pPr>
            <a:lvl4pPr marL="863534" indent="-177786">
              <a:buFont typeface="Wingdings" panose="05000000000000000000" pitchFamily="2" charset="2"/>
              <a:buChar char="§"/>
              <a:defRPr/>
            </a:lvl4pPr>
            <a:lvl5pPr marL="1028622" indent="-165088">
              <a:buFont typeface="Wingdings" panose="05000000000000000000" pitchFamily="2" charset="2"/>
              <a:buChar char="§"/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5" y="1189176"/>
            <a:ext cx="5378548" cy="2377940"/>
          </a:xfrm>
        </p:spPr>
        <p:txBody>
          <a:bodyPr wrap="square">
            <a:spAutoFit/>
          </a:bodyPr>
          <a:lstStyle>
            <a:lvl1pPr marL="281655" indent="-281655">
              <a:spcBef>
                <a:spcPts val="12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3137">
                <a:gradFill>
                  <a:gsLst>
                    <a:gs pos="19469">
                      <a:schemeClr val="tx2"/>
                    </a:gs>
                    <a:gs pos="32000">
                      <a:schemeClr val="tx2"/>
                    </a:gs>
                  </a:gsLst>
                  <a:lin ang="5400000" scaled="0"/>
                </a:gradFill>
              </a:defRPr>
            </a:lvl1pPr>
            <a:lvl2pPr marL="520660" indent="-228582">
              <a:buFont typeface="Wingdings" panose="05000000000000000000" pitchFamily="2" charset="2"/>
              <a:buChar char="§"/>
              <a:defRPr sz="2353"/>
            </a:lvl2pPr>
            <a:lvl3pPr marL="685748" indent="-165088">
              <a:buFont typeface="Wingdings" panose="05000000000000000000" pitchFamily="2" charset="2"/>
              <a:buChar char="§"/>
              <a:tabLst/>
              <a:defRPr sz="1961"/>
            </a:lvl3pPr>
            <a:lvl4pPr marL="863534" indent="-177786">
              <a:buFont typeface="Wingdings" panose="05000000000000000000" pitchFamily="2" charset="2"/>
              <a:buChar char="§"/>
              <a:defRPr/>
            </a:lvl4pPr>
            <a:lvl5pPr marL="1028622" indent="-165088">
              <a:buFont typeface="Wingdings" panose="05000000000000000000" pitchFamily="2" charset="2"/>
              <a:buChar char="§"/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77325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2" y="1189176"/>
            <a:ext cx="5378548" cy="2377940"/>
          </a:xfrm>
        </p:spPr>
        <p:txBody>
          <a:bodyPr wrap="square">
            <a:spAutoFit/>
          </a:bodyPr>
          <a:lstStyle>
            <a:lvl1pPr marL="281655" indent="-281655">
              <a:spcBef>
                <a:spcPts val="12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3137"/>
            </a:lvl1pPr>
            <a:lvl2pPr marL="520660" indent="-228582">
              <a:buFont typeface="Wingdings" panose="05000000000000000000" pitchFamily="2" charset="2"/>
              <a:buChar char="§"/>
              <a:defRPr sz="2353"/>
            </a:lvl2pPr>
            <a:lvl3pPr marL="685748" indent="-165088">
              <a:buFont typeface="Wingdings" panose="05000000000000000000" pitchFamily="2" charset="2"/>
              <a:buChar char="§"/>
              <a:tabLst/>
              <a:defRPr sz="1961"/>
            </a:lvl3pPr>
            <a:lvl4pPr marL="863534" indent="-177786">
              <a:buFont typeface="Wingdings" panose="05000000000000000000" pitchFamily="2" charset="2"/>
              <a:buChar char="§"/>
              <a:defRPr/>
            </a:lvl4pPr>
            <a:lvl5pPr marL="1028622" indent="-165088">
              <a:buFont typeface="Wingdings" panose="05000000000000000000" pitchFamily="2" charset="2"/>
              <a:buChar char="§"/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5" y="1189176"/>
            <a:ext cx="5378548" cy="2377940"/>
          </a:xfrm>
        </p:spPr>
        <p:txBody>
          <a:bodyPr wrap="square">
            <a:spAutoFit/>
          </a:bodyPr>
          <a:lstStyle>
            <a:lvl1pPr marL="281655" indent="-281655">
              <a:spcBef>
                <a:spcPts val="12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3137"/>
            </a:lvl1pPr>
            <a:lvl2pPr marL="520660" indent="-228582">
              <a:buFont typeface="Wingdings" panose="05000000000000000000" pitchFamily="2" charset="2"/>
              <a:buChar char="§"/>
              <a:defRPr sz="2353"/>
            </a:lvl2pPr>
            <a:lvl3pPr marL="685748" indent="-165088">
              <a:buFont typeface="Wingdings" panose="05000000000000000000" pitchFamily="2" charset="2"/>
              <a:buChar char="§"/>
              <a:tabLst/>
              <a:defRPr sz="1961"/>
            </a:lvl3pPr>
            <a:lvl4pPr marL="863534" indent="-177786">
              <a:buFont typeface="Wingdings" panose="05000000000000000000" pitchFamily="2" charset="2"/>
              <a:buChar char="§"/>
              <a:defRPr/>
            </a:lvl4pPr>
            <a:lvl5pPr marL="1028622" indent="-165088">
              <a:buFont typeface="Wingdings" panose="05000000000000000000" pitchFamily="2" charset="2"/>
              <a:buChar char="§"/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357646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52765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2-color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48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39" y="1189176"/>
            <a:ext cx="11653523" cy="5424059"/>
          </a:xfrm>
        </p:spPr>
        <p:txBody>
          <a:bodyPr/>
          <a:lstStyle>
            <a:lvl1pPr marL="182880" indent="-182880">
              <a:buFont typeface="Arial" panose="020B0604020202020204" pitchFamily="34" charset="0"/>
              <a:buChar char="•"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  <a:latin typeface="+mj-lt"/>
              </a:defRPr>
            </a:lvl1pPr>
            <a:lvl2pPr marL="365760" indent="-182880">
              <a:buFont typeface="Arial" panose="020B0604020202020204" pitchFamily="34" charset="0"/>
              <a:buChar char="•"/>
              <a:defRPr sz="2400">
                <a:latin typeface="+mj-lt"/>
              </a:defRPr>
            </a:lvl2pPr>
            <a:lvl3pPr marL="548640" indent="-182880">
              <a:buFont typeface="Arial" panose="020B0604020202020204" pitchFamily="34" charset="0"/>
              <a:buChar char="•"/>
              <a:defRPr sz="2000">
                <a:latin typeface="+mj-lt"/>
              </a:defRPr>
            </a:lvl3pPr>
            <a:lvl4pPr marL="733943" indent="-285750">
              <a:buFont typeface="Arial" panose="020B0604020202020204" pitchFamily="34" charset="0"/>
              <a:buChar char="•"/>
              <a:defRPr/>
            </a:lvl4pPr>
            <a:lvl5pPr marL="958040" indent="-285750"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9894304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_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1" y="259792"/>
            <a:ext cx="11653521" cy="1075884"/>
          </a:xfrm>
        </p:spPr>
        <p:txBody>
          <a:bodyPr lIns="146304" tIns="91440" rIns="146304" bIns="91440"/>
          <a:lstStyle>
            <a:lvl1pPr>
              <a:lnSpc>
                <a:spcPts val="6176"/>
              </a:lnSpc>
              <a:defRPr sz="48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Lorem ipsum dolor sit.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269241" y="1365832"/>
            <a:ext cx="4358791" cy="4949771"/>
          </a:xfrm>
        </p:spPr>
        <p:txBody>
          <a:bodyPr wrap="square">
            <a:noAutofit/>
          </a:bodyPr>
          <a:lstStyle>
            <a:lvl1pPr marL="182880" indent="-18288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3200">
                <a:solidFill>
                  <a:schemeClr val="accent1"/>
                </a:solidFill>
                <a:latin typeface="+mj-lt"/>
              </a:defRPr>
            </a:lvl1pPr>
            <a:lvl2pPr marL="36576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2400">
                <a:latin typeface="+mj-lt"/>
              </a:defRPr>
            </a:lvl2pPr>
            <a:lvl3pPr marL="570109" indent="-34290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2000">
                <a:latin typeface="+mj-lt"/>
              </a:defRPr>
            </a:lvl3pPr>
            <a:lvl4pPr marL="737056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 marL="958040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2" hasCustomPrompt="1"/>
          </p:nvPr>
        </p:nvSpPr>
        <p:spPr>
          <a:xfrm>
            <a:off x="4628199" y="1335676"/>
            <a:ext cx="7294563" cy="4949353"/>
          </a:xfrm>
          <a:ln w="152400">
            <a:noFill/>
          </a:ln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Screen shot or image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898819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Co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1" y="259792"/>
            <a:ext cx="11653521" cy="1075884"/>
          </a:xfrm>
        </p:spPr>
        <p:txBody>
          <a:bodyPr lIns="146304" tIns="91440" rIns="146304" bIns="91440"/>
          <a:lstStyle>
            <a:lvl1pPr>
              <a:lnSpc>
                <a:spcPts val="6176"/>
              </a:lnSpc>
              <a:defRPr sz="48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Lorem ipsum dolor sit.</a:t>
            </a:r>
            <a:endParaRPr lang="en-US" dirty="0"/>
          </a:p>
        </p:txBody>
      </p:sp>
      <p:sp>
        <p:nvSpPr>
          <p:cNvPr id="3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824549" y="1446341"/>
            <a:ext cx="7210697" cy="5040206"/>
          </a:xfrm>
          <a:solidFill>
            <a:schemeClr val="bg1"/>
          </a:solidFill>
          <a:ln w="152400">
            <a:solidFill>
              <a:schemeClr val="accent1"/>
            </a:solidFill>
          </a:ln>
        </p:spPr>
        <p:txBody>
          <a:bodyPr wrap="square">
            <a:normAutofit/>
          </a:bodyPr>
          <a:lstStyle>
            <a:lvl1pPr marL="0" indent="0" defTabSz="365760">
              <a:lnSpc>
                <a:spcPct val="100000"/>
              </a:lnSpc>
              <a:spcBef>
                <a:spcPts val="0"/>
              </a:spcBef>
              <a:buClr>
                <a:schemeClr val="tx1"/>
              </a:buClr>
              <a:buFont typeface="Wingdings" pitchFamily="2" charset="2"/>
              <a:buNone/>
              <a:defRPr sz="1600" baseline="0">
                <a:solidFill>
                  <a:schemeClr val="accent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65760" indent="0" defTabSz="365760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accent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731520" indent="0" defTabSz="365760">
              <a:lnSpc>
                <a:spcPct val="100000"/>
              </a:lnSpc>
              <a:spcBef>
                <a:spcPts val="0"/>
              </a:spcBef>
              <a:buNone/>
              <a:tabLst/>
              <a:defRPr sz="1600">
                <a:solidFill>
                  <a:schemeClr val="accent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1097280" indent="0" defTabSz="365760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accent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463040" indent="0" defTabSz="365760">
              <a:lnSpc>
                <a:spcPct val="100000"/>
              </a:lnSpc>
              <a:spcBef>
                <a:spcPts val="0"/>
              </a:spcBef>
              <a:buNone/>
              <a:tabLst/>
              <a:defRPr sz="1600">
                <a:solidFill>
                  <a:schemeClr val="accent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 dirty="0" smtClean="0"/>
              <a:t>Click to edit code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269241" y="1335676"/>
            <a:ext cx="4358791" cy="5249851"/>
          </a:xfrm>
        </p:spPr>
        <p:txBody>
          <a:bodyPr wrap="square">
            <a:noAutofit/>
          </a:bodyPr>
          <a:lstStyle>
            <a:lvl1pPr marL="182880" indent="-18288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3200">
                <a:solidFill>
                  <a:schemeClr val="accent1"/>
                </a:solidFill>
              </a:defRPr>
            </a:lvl1pPr>
            <a:lvl2pPr marL="36576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2400"/>
            </a:lvl2pPr>
            <a:lvl3pPr marL="54864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961"/>
            </a:lvl3pPr>
            <a:lvl4pPr marL="737056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 marL="958040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9955789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48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5377878"/>
          </a:xfrm>
        </p:spPr>
        <p:txBody>
          <a:bodyPr/>
          <a:lstStyle>
            <a:lvl1pPr marL="182880" indent="-182880">
              <a:buFont typeface="Arial" panose="020B0604020202020204" pitchFamily="34" charset="0"/>
              <a:buChar char="•"/>
              <a:defRPr>
                <a:solidFill>
                  <a:schemeClr val="accent1"/>
                </a:solidFill>
                <a:latin typeface="+mj-lt"/>
              </a:defRPr>
            </a:lvl1pPr>
            <a:lvl2pPr marL="365760" indent="-182880">
              <a:buFont typeface="Arial" panose="020B0604020202020204" pitchFamily="34" charset="0"/>
              <a:buChar char="•"/>
              <a:defRPr sz="2400">
                <a:latin typeface="+mj-lt"/>
              </a:defRPr>
            </a:lvl2pPr>
            <a:lvl3pPr marL="548640" indent="-182880">
              <a:buFont typeface="Arial" panose="020B0604020202020204" pitchFamily="34" charset="0"/>
              <a:buChar char="•"/>
              <a:defRPr sz="2000">
                <a:latin typeface="+mj-lt"/>
              </a:defRPr>
            </a:lvl3pPr>
            <a:lvl4pPr marL="733943" indent="-285750">
              <a:buFont typeface="Arial" panose="020B0604020202020204" pitchFamily="34" charset="0"/>
              <a:buChar char="•"/>
              <a:defRPr/>
            </a:lvl4pPr>
            <a:lvl5pPr marL="958040" indent="-285750"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42269887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1st level colo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5340932"/>
          </a:xfrm>
        </p:spPr>
        <p:txBody>
          <a:bodyPr/>
          <a:lstStyle>
            <a:lvl1pPr marL="182880" indent="-182880">
              <a:buFont typeface="Arial" panose="020B0604020202020204" pitchFamily="34" charset="0"/>
              <a:buChar char="•"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  <a:latin typeface="+mj-lt"/>
              </a:defRPr>
            </a:lvl1pPr>
            <a:lvl2pPr marL="365760" indent="-182880">
              <a:buFont typeface="Arial" panose="020B0604020202020204" pitchFamily="34" charset="0"/>
              <a:buChar char="•"/>
              <a:defRPr sz="2400">
                <a:latin typeface="+mj-lt"/>
              </a:defRPr>
            </a:lvl2pPr>
            <a:lvl3pPr marL="548640" indent="-182880">
              <a:buFont typeface="Arial" panose="020B0604020202020204" pitchFamily="34" charset="0"/>
              <a:buChar char="•"/>
              <a:defRPr sz="2000">
                <a:latin typeface="+mj-lt"/>
              </a:defRPr>
            </a:lvl3pPr>
            <a:lvl4pPr marL="733943" indent="-285750">
              <a:buFont typeface="Arial" panose="020B0604020202020204" pitchFamily="34" charset="0"/>
              <a:buChar char="•"/>
              <a:defRPr/>
            </a:lvl4pPr>
            <a:lvl5pPr marL="958040" indent="-285750"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4090100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5340932"/>
          </a:xfrm>
        </p:spPr>
        <p:txBody>
          <a:bodyPr/>
          <a:lstStyle>
            <a:lvl1pPr marL="182880" indent="-182880">
              <a:buFont typeface="Arial" panose="020B0604020202020204" pitchFamily="34" charset="0"/>
              <a:buChar char="•"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  <a:latin typeface="+mj-lt"/>
              </a:defRPr>
            </a:lvl1pPr>
            <a:lvl2pPr marL="365760" indent="-182880">
              <a:buFont typeface="Arial" panose="020B0604020202020204" pitchFamily="34" charset="0"/>
              <a:buChar char="•"/>
              <a:defRPr sz="2400">
                <a:latin typeface="+mj-lt"/>
              </a:defRPr>
            </a:lvl2pPr>
            <a:lvl3pPr marL="548640" indent="-182880">
              <a:buFont typeface="Arial" panose="020B0604020202020204" pitchFamily="34" charset="0"/>
              <a:buChar char="•"/>
              <a:defRPr sz="2000">
                <a:latin typeface="+mj-lt"/>
              </a:defRPr>
            </a:lvl3pPr>
            <a:lvl4pPr marL="733943" indent="-285750">
              <a:buFont typeface="Arial" panose="020B0604020202020204" pitchFamily="34" charset="0"/>
              <a:buChar char="•"/>
              <a:defRPr/>
            </a:lvl4pPr>
            <a:lvl5pPr marL="958040" indent="-285750"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7341380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2-color Non-bulle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269241" y="1189176"/>
            <a:ext cx="5486400" cy="5396352"/>
          </a:xfrm>
        </p:spPr>
        <p:txBody>
          <a:bodyPr wrap="square">
            <a:noAutofit/>
          </a:bodyPr>
          <a:lstStyle>
            <a:lvl1pPr marL="182880" indent="-18288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3200">
                <a:solidFill>
                  <a:schemeClr val="accent1"/>
                </a:solidFill>
              </a:defRPr>
            </a:lvl1pPr>
            <a:lvl2pPr marL="36576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2400"/>
            </a:lvl2pPr>
            <a:lvl3pPr marL="54864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961"/>
            </a:lvl3pPr>
            <a:lvl4pPr marL="737056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 marL="958040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410037" y="1189176"/>
            <a:ext cx="5486400" cy="5396352"/>
          </a:xfrm>
        </p:spPr>
        <p:txBody>
          <a:bodyPr wrap="square">
            <a:noAutofit/>
          </a:bodyPr>
          <a:lstStyle>
            <a:lvl1pPr marL="182880" indent="-18288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3200">
                <a:solidFill>
                  <a:schemeClr val="accent1"/>
                </a:solidFill>
              </a:defRPr>
            </a:lvl1pPr>
            <a:lvl2pPr marL="36576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2400"/>
            </a:lvl2pPr>
            <a:lvl3pPr marL="54864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961"/>
            </a:lvl3pPr>
            <a:lvl4pPr marL="737056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 marL="958040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5413173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D981FE-5D1F-41B2-B646-043BF0A5ACBC}" type="datetimeFigureOut">
              <a:rPr lang="en-US" smtClean="0"/>
              <a:t>6/24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0F8BCA-21CF-47CE-9FCA-13F27AE5EC2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96608900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269241" y="1189176"/>
            <a:ext cx="5486400" cy="5396352"/>
          </a:xfrm>
        </p:spPr>
        <p:txBody>
          <a:bodyPr wrap="square">
            <a:noAutofit/>
          </a:bodyPr>
          <a:lstStyle>
            <a:lvl1pPr marL="182880" indent="-18288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3200">
                <a:solidFill>
                  <a:schemeClr val="accent1"/>
                </a:solidFill>
              </a:defRPr>
            </a:lvl1pPr>
            <a:lvl2pPr marL="36576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2400"/>
            </a:lvl2pPr>
            <a:lvl3pPr marL="54864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961"/>
            </a:lvl3pPr>
            <a:lvl4pPr marL="737056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 marL="958040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410037" y="1189176"/>
            <a:ext cx="5486400" cy="5396352"/>
          </a:xfrm>
        </p:spPr>
        <p:txBody>
          <a:bodyPr wrap="square">
            <a:noAutofit/>
          </a:bodyPr>
          <a:lstStyle>
            <a:lvl1pPr marL="182880" indent="-18288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3200">
                <a:solidFill>
                  <a:schemeClr val="accent1"/>
                </a:solidFill>
              </a:defRPr>
            </a:lvl1pPr>
            <a:lvl2pPr marL="36576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2400"/>
            </a:lvl2pPr>
            <a:lvl3pPr marL="54864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961"/>
            </a:lvl3pPr>
            <a:lvl4pPr marL="737056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 marL="958040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5154110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 1st level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269241" y="1189176"/>
            <a:ext cx="5486400" cy="5396352"/>
          </a:xfrm>
        </p:spPr>
        <p:txBody>
          <a:bodyPr wrap="square">
            <a:noAutofit/>
          </a:bodyPr>
          <a:lstStyle>
            <a:lvl1pPr marL="182880" indent="-18288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3200">
                <a:solidFill>
                  <a:schemeClr val="accent1"/>
                </a:solidFill>
              </a:defRPr>
            </a:lvl1pPr>
            <a:lvl2pPr marL="36576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2400"/>
            </a:lvl2pPr>
            <a:lvl3pPr marL="54864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961"/>
            </a:lvl3pPr>
            <a:lvl4pPr marL="737056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 marL="958040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410037" y="1189176"/>
            <a:ext cx="5486400" cy="5396352"/>
          </a:xfrm>
        </p:spPr>
        <p:txBody>
          <a:bodyPr wrap="square">
            <a:noAutofit/>
          </a:bodyPr>
          <a:lstStyle>
            <a:lvl1pPr marL="182880" indent="-18288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3200">
                <a:solidFill>
                  <a:schemeClr val="accent1"/>
                </a:solidFill>
              </a:defRPr>
            </a:lvl1pPr>
            <a:lvl2pPr marL="36576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2400"/>
            </a:lvl2pPr>
            <a:lvl3pPr marL="54864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961"/>
            </a:lvl3pPr>
            <a:lvl4pPr marL="737056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 marL="958040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630243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269241" y="1189176"/>
            <a:ext cx="5486400" cy="5396352"/>
          </a:xfrm>
        </p:spPr>
        <p:txBody>
          <a:bodyPr wrap="square">
            <a:noAutofit/>
          </a:bodyPr>
          <a:lstStyle>
            <a:lvl1pPr marL="182880" indent="-18288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3200">
                <a:solidFill>
                  <a:schemeClr val="accent1"/>
                </a:solidFill>
              </a:defRPr>
            </a:lvl1pPr>
            <a:lvl2pPr marL="36576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2400"/>
            </a:lvl2pPr>
            <a:lvl3pPr marL="54864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961"/>
            </a:lvl3pPr>
            <a:lvl4pPr marL="737056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 marL="958040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410037" y="1189176"/>
            <a:ext cx="5486400" cy="5396352"/>
          </a:xfrm>
        </p:spPr>
        <p:txBody>
          <a:bodyPr wrap="square">
            <a:noAutofit/>
          </a:bodyPr>
          <a:lstStyle>
            <a:lvl1pPr marL="182880" indent="-18288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3200">
                <a:solidFill>
                  <a:schemeClr val="accent1"/>
                </a:solidFill>
              </a:defRPr>
            </a:lvl1pPr>
            <a:lvl2pPr marL="36576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2400"/>
            </a:lvl2pPr>
            <a:lvl3pPr marL="54864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961"/>
            </a:lvl3pPr>
            <a:lvl4pPr marL="737056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 marL="958040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3557557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838360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68927" y="286381"/>
            <a:ext cx="11653523" cy="927940"/>
          </a:xfrm>
          <a:prstGeom prst="rect">
            <a:avLst/>
          </a:prstGeom>
        </p:spPr>
        <p:txBody>
          <a:bodyPr lIns="146304" tIns="91440" rIns="146304" bIns="91440"/>
          <a:lstStyle>
            <a:lvl1pPr algn="l">
              <a:defRPr sz="5097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347242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B5953AD0-7361-4755-9F16-790BE48104A3}" type="datetimeFigureOut">
              <a:rPr lang="en-US" smtClean="0">
                <a:solidFill>
                  <a:srgbClr val="505050"/>
                </a:solidFill>
              </a:rPr>
              <a:pPr/>
              <a:t>6/24/2018</a:t>
            </a:fld>
            <a:endParaRPr lang="en-US" dirty="0">
              <a:solidFill>
                <a:srgbClr val="50505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srgbClr val="50505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B3722D1-D77E-41ED-9FC0-BA6608D9DD8F}" type="slidenum">
              <a:rPr lang="en-US" smtClean="0">
                <a:solidFill>
                  <a:srgbClr val="505050"/>
                </a:solidFill>
              </a:rPr>
              <a:pPr/>
              <a:t>‹#›</a:t>
            </a:fld>
            <a:endParaRPr lang="en-US" dirty="0">
              <a:solidFill>
                <a:srgbClr val="505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985861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2" y="2084187"/>
            <a:ext cx="8964185" cy="1793090"/>
          </a:xfrm>
          <a:noFill/>
        </p:spPr>
        <p:txBody>
          <a:bodyPr lIns="146304" tIns="91440" rIns="146304" bIns="91440" anchor="t" anchorCtr="0"/>
          <a:lstStyle>
            <a:lvl1pPr>
              <a:defRPr sz="5293" spc="-98" baseline="0">
                <a:gradFill>
                  <a:gsLst>
                    <a:gs pos="100000">
                      <a:schemeClr val="tx2"/>
                    </a:gs>
                    <a:gs pos="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302" y="3878574"/>
            <a:ext cx="7171337" cy="1792326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3136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 smtClean="0"/>
              <a:t>Speaker Nam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9304" y="5853250"/>
            <a:ext cx="1956016" cy="719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89537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2-color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40" y="1189178"/>
            <a:ext cx="11653523" cy="198564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4054" indent="0">
              <a:buNone/>
              <a:defRPr/>
            </a:lvl3pPr>
            <a:lvl4pPr marL="448107" indent="0">
              <a:buNone/>
              <a:defRPr/>
            </a:lvl4pPr>
            <a:lvl5pPr marL="672161" indent="0"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049845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40" y="1189178"/>
            <a:ext cx="11653523" cy="198564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1"/>
                    </a:gs>
                    <a:gs pos="99000">
                      <a:schemeClr val="tx1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4054" indent="0">
              <a:buNone/>
              <a:defRPr/>
            </a:lvl3pPr>
            <a:lvl4pPr marL="448107" indent="0">
              <a:buNone/>
              <a:defRPr/>
            </a:lvl4pPr>
            <a:lvl5pPr marL="672161" indent="0"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968863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1st level colo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0" y="1189177"/>
            <a:ext cx="11653523" cy="2052030"/>
          </a:xfrm>
        </p:spPr>
        <p:txBody>
          <a:bodyPr>
            <a:spAutoFit/>
          </a:bodyPr>
          <a:lstStyle>
            <a:lvl1pPr>
              <a:defRPr sz="3920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49245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4.xml"/><Relationship Id="rId13" Type="http://schemas.openxmlformats.org/officeDocument/2006/relationships/slideLayout" Target="../slideLayouts/slideLayout119.xml"/><Relationship Id="rId18" Type="http://schemas.openxmlformats.org/officeDocument/2006/relationships/slideLayout" Target="../slideLayouts/slideLayout124.xml"/><Relationship Id="rId26" Type="http://schemas.openxmlformats.org/officeDocument/2006/relationships/slideLayout" Target="../slideLayouts/slideLayout132.xml"/><Relationship Id="rId3" Type="http://schemas.openxmlformats.org/officeDocument/2006/relationships/slideLayout" Target="../slideLayouts/slideLayout109.xml"/><Relationship Id="rId21" Type="http://schemas.openxmlformats.org/officeDocument/2006/relationships/slideLayout" Target="../slideLayouts/slideLayout127.xml"/><Relationship Id="rId7" Type="http://schemas.openxmlformats.org/officeDocument/2006/relationships/slideLayout" Target="../slideLayouts/slideLayout113.xml"/><Relationship Id="rId12" Type="http://schemas.openxmlformats.org/officeDocument/2006/relationships/slideLayout" Target="../slideLayouts/slideLayout118.xml"/><Relationship Id="rId17" Type="http://schemas.openxmlformats.org/officeDocument/2006/relationships/slideLayout" Target="../slideLayouts/slideLayout123.xml"/><Relationship Id="rId25" Type="http://schemas.openxmlformats.org/officeDocument/2006/relationships/slideLayout" Target="../slideLayouts/slideLayout131.xml"/><Relationship Id="rId2" Type="http://schemas.openxmlformats.org/officeDocument/2006/relationships/slideLayout" Target="../slideLayouts/slideLayout108.xml"/><Relationship Id="rId16" Type="http://schemas.openxmlformats.org/officeDocument/2006/relationships/slideLayout" Target="../slideLayouts/slideLayout122.xml"/><Relationship Id="rId20" Type="http://schemas.openxmlformats.org/officeDocument/2006/relationships/slideLayout" Target="../slideLayouts/slideLayout126.xml"/><Relationship Id="rId1" Type="http://schemas.openxmlformats.org/officeDocument/2006/relationships/slideLayout" Target="../slideLayouts/slideLayout107.xml"/><Relationship Id="rId6" Type="http://schemas.openxmlformats.org/officeDocument/2006/relationships/slideLayout" Target="../slideLayouts/slideLayout112.xml"/><Relationship Id="rId11" Type="http://schemas.openxmlformats.org/officeDocument/2006/relationships/slideLayout" Target="../slideLayouts/slideLayout117.xml"/><Relationship Id="rId24" Type="http://schemas.openxmlformats.org/officeDocument/2006/relationships/slideLayout" Target="../slideLayouts/slideLayout130.xml"/><Relationship Id="rId5" Type="http://schemas.openxmlformats.org/officeDocument/2006/relationships/slideLayout" Target="../slideLayouts/slideLayout111.xml"/><Relationship Id="rId15" Type="http://schemas.openxmlformats.org/officeDocument/2006/relationships/slideLayout" Target="../slideLayouts/slideLayout121.xml"/><Relationship Id="rId23" Type="http://schemas.openxmlformats.org/officeDocument/2006/relationships/slideLayout" Target="../slideLayouts/slideLayout129.xml"/><Relationship Id="rId28" Type="http://schemas.openxmlformats.org/officeDocument/2006/relationships/image" Target="../media/image16.png"/><Relationship Id="rId10" Type="http://schemas.openxmlformats.org/officeDocument/2006/relationships/slideLayout" Target="../slideLayouts/slideLayout116.xml"/><Relationship Id="rId19" Type="http://schemas.openxmlformats.org/officeDocument/2006/relationships/slideLayout" Target="../slideLayouts/slideLayout125.xml"/><Relationship Id="rId4" Type="http://schemas.openxmlformats.org/officeDocument/2006/relationships/slideLayout" Target="../slideLayouts/slideLayout110.xml"/><Relationship Id="rId9" Type="http://schemas.openxmlformats.org/officeDocument/2006/relationships/slideLayout" Target="../slideLayouts/slideLayout115.xml"/><Relationship Id="rId14" Type="http://schemas.openxmlformats.org/officeDocument/2006/relationships/slideLayout" Target="../slideLayouts/slideLayout120.xml"/><Relationship Id="rId22" Type="http://schemas.openxmlformats.org/officeDocument/2006/relationships/slideLayout" Target="../slideLayouts/slideLayout128.xml"/><Relationship Id="rId27" Type="http://schemas.openxmlformats.org/officeDocument/2006/relationships/theme" Target="../theme/theme10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0.xml"/><Relationship Id="rId13" Type="http://schemas.openxmlformats.org/officeDocument/2006/relationships/slideLayout" Target="../slideLayouts/slideLayout145.xml"/><Relationship Id="rId18" Type="http://schemas.openxmlformats.org/officeDocument/2006/relationships/slideLayout" Target="../slideLayouts/slideLayout150.xml"/><Relationship Id="rId26" Type="http://schemas.openxmlformats.org/officeDocument/2006/relationships/slideLayout" Target="../slideLayouts/slideLayout158.xml"/><Relationship Id="rId3" Type="http://schemas.openxmlformats.org/officeDocument/2006/relationships/slideLayout" Target="../slideLayouts/slideLayout135.xml"/><Relationship Id="rId21" Type="http://schemas.openxmlformats.org/officeDocument/2006/relationships/slideLayout" Target="../slideLayouts/slideLayout153.xml"/><Relationship Id="rId7" Type="http://schemas.openxmlformats.org/officeDocument/2006/relationships/slideLayout" Target="../slideLayouts/slideLayout139.xml"/><Relationship Id="rId12" Type="http://schemas.openxmlformats.org/officeDocument/2006/relationships/slideLayout" Target="../slideLayouts/slideLayout144.xml"/><Relationship Id="rId17" Type="http://schemas.openxmlformats.org/officeDocument/2006/relationships/slideLayout" Target="../slideLayouts/slideLayout149.xml"/><Relationship Id="rId25" Type="http://schemas.openxmlformats.org/officeDocument/2006/relationships/slideLayout" Target="../slideLayouts/slideLayout157.xml"/><Relationship Id="rId2" Type="http://schemas.openxmlformats.org/officeDocument/2006/relationships/slideLayout" Target="../slideLayouts/slideLayout134.xml"/><Relationship Id="rId16" Type="http://schemas.openxmlformats.org/officeDocument/2006/relationships/slideLayout" Target="../slideLayouts/slideLayout148.xml"/><Relationship Id="rId20" Type="http://schemas.openxmlformats.org/officeDocument/2006/relationships/slideLayout" Target="../slideLayouts/slideLayout152.xml"/><Relationship Id="rId1" Type="http://schemas.openxmlformats.org/officeDocument/2006/relationships/slideLayout" Target="../slideLayouts/slideLayout133.xml"/><Relationship Id="rId6" Type="http://schemas.openxmlformats.org/officeDocument/2006/relationships/slideLayout" Target="../slideLayouts/slideLayout138.xml"/><Relationship Id="rId11" Type="http://schemas.openxmlformats.org/officeDocument/2006/relationships/slideLayout" Target="../slideLayouts/slideLayout143.xml"/><Relationship Id="rId24" Type="http://schemas.openxmlformats.org/officeDocument/2006/relationships/slideLayout" Target="../slideLayouts/slideLayout156.xml"/><Relationship Id="rId5" Type="http://schemas.openxmlformats.org/officeDocument/2006/relationships/slideLayout" Target="../slideLayouts/slideLayout137.xml"/><Relationship Id="rId15" Type="http://schemas.openxmlformats.org/officeDocument/2006/relationships/slideLayout" Target="../slideLayouts/slideLayout147.xml"/><Relationship Id="rId23" Type="http://schemas.openxmlformats.org/officeDocument/2006/relationships/slideLayout" Target="../slideLayouts/slideLayout155.xml"/><Relationship Id="rId28" Type="http://schemas.openxmlformats.org/officeDocument/2006/relationships/image" Target="../media/image16.png"/><Relationship Id="rId10" Type="http://schemas.openxmlformats.org/officeDocument/2006/relationships/slideLayout" Target="../slideLayouts/slideLayout142.xml"/><Relationship Id="rId19" Type="http://schemas.openxmlformats.org/officeDocument/2006/relationships/slideLayout" Target="../slideLayouts/slideLayout151.xml"/><Relationship Id="rId4" Type="http://schemas.openxmlformats.org/officeDocument/2006/relationships/slideLayout" Target="../slideLayouts/slideLayout136.xml"/><Relationship Id="rId9" Type="http://schemas.openxmlformats.org/officeDocument/2006/relationships/slideLayout" Target="../slideLayouts/slideLayout141.xml"/><Relationship Id="rId14" Type="http://schemas.openxmlformats.org/officeDocument/2006/relationships/slideLayout" Target="../slideLayouts/slideLayout146.xml"/><Relationship Id="rId22" Type="http://schemas.openxmlformats.org/officeDocument/2006/relationships/slideLayout" Target="../slideLayouts/slideLayout154.xml"/><Relationship Id="rId27" Type="http://schemas.openxmlformats.org/officeDocument/2006/relationships/theme" Target="../theme/theme11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6.xml"/><Relationship Id="rId13" Type="http://schemas.openxmlformats.org/officeDocument/2006/relationships/slideLayout" Target="../slideLayouts/slideLayout171.xml"/><Relationship Id="rId18" Type="http://schemas.openxmlformats.org/officeDocument/2006/relationships/slideLayout" Target="../slideLayouts/slideLayout176.xml"/><Relationship Id="rId26" Type="http://schemas.openxmlformats.org/officeDocument/2006/relationships/slideLayout" Target="../slideLayouts/slideLayout184.xml"/><Relationship Id="rId3" Type="http://schemas.openxmlformats.org/officeDocument/2006/relationships/slideLayout" Target="../slideLayouts/slideLayout161.xml"/><Relationship Id="rId21" Type="http://schemas.openxmlformats.org/officeDocument/2006/relationships/slideLayout" Target="../slideLayouts/slideLayout179.xml"/><Relationship Id="rId7" Type="http://schemas.openxmlformats.org/officeDocument/2006/relationships/slideLayout" Target="../slideLayouts/slideLayout165.xml"/><Relationship Id="rId12" Type="http://schemas.openxmlformats.org/officeDocument/2006/relationships/slideLayout" Target="../slideLayouts/slideLayout170.xml"/><Relationship Id="rId17" Type="http://schemas.openxmlformats.org/officeDocument/2006/relationships/slideLayout" Target="../slideLayouts/slideLayout175.xml"/><Relationship Id="rId25" Type="http://schemas.openxmlformats.org/officeDocument/2006/relationships/slideLayout" Target="../slideLayouts/slideLayout183.xml"/><Relationship Id="rId2" Type="http://schemas.openxmlformats.org/officeDocument/2006/relationships/slideLayout" Target="../slideLayouts/slideLayout160.xml"/><Relationship Id="rId16" Type="http://schemas.openxmlformats.org/officeDocument/2006/relationships/slideLayout" Target="../slideLayouts/slideLayout174.xml"/><Relationship Id="rId20" Type="http://schemas.openxmlformats.org/officeDocument/2006/relationships/slideLayout" Target="../slideLayouts/slideLayout178.xml"/><Relationship Id="rId29" Type="http://schemas.openxmlformats.org/officeDocument/2006/relationships/theme" Target="../theme/theme12.xml"/><Relationship Id="rId1" Type="http://schemas.openxmlformats.org/officeDocument/2006/relationships/slideLayout" Target="../slideLayouts/slideLayout159.xml"/><Relationship Id="rId6" Type="http://schemas.openxmlformats.org/officeDocument/2006/relationships/slideLayout" Target="../slideLayouts/slideLayout164.xml"/><Relationship Id="rId11" Type="http://schemas.openxmlformats.org/officeDocument/2006/relationships/slideLayout" Target="../slideLayouts/slideLayout169.xml"/><Relationship Id="rId24" Type="http://schemas.openxmlformats.org/officeDocument/2006/relationships/slideLayout" Target="../slideLayouts/slideLayout182.xml"/><Relationship Id="rId5" Type="http://schemas.openxmlformats.org/officeDocument/2006/relationships/slideLayout" Target="../slideLayouts/slideLayout163.xml"/><Relationship Id="rId15" Type="http://schemas.openxmlformats.org/officeDocument/2006/relationships/slideLayout" Target="../slideLayouts/slideLayout173.xml"/><Relationship Id="rId23" Type="http://schemas.openxmlformats.org/officeDocument/2006/relationships/slideLayout" Target="../slideLayouts/slideLayout181.xml"/><Relationship Id="rId28" Type="http://schemas.openxmlformats.org/officeDocument/2006/relationships/slideLayout" Target="../slideLayouts/slideLayout186.xml"/><Relationship Id="rId10" Type="http://schemas.openxmlformats.org/officeDocument/2006/relationships/slideLayout" Target="../slideLayouts/slideLayout168.xml"/><Relationship Id="rId19" Type="http://schemas.openxmlformats.org/officeDocument/2006/relationships/slideLayout" Target="../slideLayouts/slideLayout177.xml"/><Relationship Id="rId4" Type="http://schemas.openxmlformats.org/officeDocument/2006/relationships/slideLayout" Target="../slideLayouts/slideLayout162.xml"/><Relationship Id="rId9" Type="http://schemas.openxmlformats.org/officeDocument/2006/relationships/slideLayout" Target="../slideLayouts/slideLayout167.xml"/><Relationship Id="rId14" Type="http://schemas.openxmlformats.org/officeDocument/2006/relationships/slideLayout" Target="../slideLayouts/slideLayout172.xml"/><Relationship Id="rId22" Type="http://schemas.openxmlformats.org/officeDocument/2006/relationships/slideLayout" Target="../slideLayouts/slideLayout180.xml"/><Relationship Id="rId27" Type="http://schemas.openxmlformats.org/officeDocument/2006/relationships/slideLayout" Target="../slideLayouts/slideLayout185.xml"/><Relationship Id="rId30" Type="http://schemas.openxmlformats.org/officeDocument/2006/relationships/image" Target="../media/image16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.xml"/><Relationship Id="rId13" Type="http://schemas.openxmlformats.org/officeDocument/2006/relationships/slideLayout" Target="../slideLayouts/slideLayout23.xml"/><Relationship Id="rId18" Type="http://schemas.openxmlformats.org/officeDocument/2006/relationships/slideLayout" Target="../slideLayouts/slideLayout28.xml"/><Relationship Id="rId3" Type="http://schemas.openxmlformats.org/officeDocument/2006/relationships/slideLayout" Target="../slideLayouts/slideLayout13.xml"/><Relationship Id="rId7" Type="http://schemas.openxmlformats.org/officeDocument/2006/relationships/slideLayout" Target="../slideLayouts/slideLayout17.xml"/><Relationship Id="rId12" Type="http://schemas.openxmlformats.org/officeDocument/2006/relationships/slideLayout" Target="../slideLayouts/slideLayout22.xml"/><Relationship Id="rId17" Type="http://schemas.openxmlformats.org/officeDocument/2006/relationships/slideLayout" Target="../slideLayouts/slideLayout27.xml"/><Relationship Id="rId2" Type="http://schemas.openxmlformats.org/officeDocument/2006/relationships/slideLayout" Target="../slideLayouts/slideLayout12.xml"/><Relationship Id="rId16" Type="http://schemas.openxmlformats.org/officeDocument/2006/relationships/slideLayout" Target="../slideLayouts/slideLayout26.xml"/><Relationship Id="rId1" Type="http://schemas.openxmlformats.org/officeDocument/2006/relationships/slideLayout" Target="../slideLayouts/slideLayout11.xml"/><Relationship Id="rId6" Type="http://schemas.openxmlformats.org/officeDocument/2006/relationships/slideLayout" Target="../slideLayouts/slideLayout16.xml"/><Relationship Id="rId11" Type="http://schemas.openxmlformats.org/officeDocument/2006/relationships/slideLayout" Target="../slideLayouts/slideLayout21.xml"/><Relationship Id="rId5" Type="http://schemas.openxmlformats.org/officeDocument/2006/relationships/slideLayout" Target="../slideLayouts/slideLayout15.xml"/><Relationship Id="rId15" Type="http://schemas.openxmlformats.org/officeDocument/2006/relationships/slideLayout" Target="../slideLayouts/slideLayout25.xml"/><Relationship Id="rId10" Type="http://schemas.openxmlformats.org/officeDocument/2006/relationships/slideLayout" Target="../slideLayouts/slideLayout20.xml"/><Relationship Id="rId19" Type="http://schemas.openxmlformats.org/officeDocument/2006/relationships/theme" Target="../theme/theme2.xml"/><Relationship Id="rId4" Type="http://schemas.openxmlformats.org/officeDocument/2006/relationships/slideLayout" Target="../slideLayouts/slideLayout14.xml"/><Relationship Id="rId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24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6.xml"/><Relationship Id="rId13" Type="http://schemas.openxmlformats.org/officeDocument/2006/relationships/image" Target="../media/image13.png"/><Relationship Id="rId3" Type="http://schemas.openxmlformats.org/officeDocument/2006/relationships/slideLayout" Target="../slideLayouts/slideLayout31.xml"/><Relationship Id="rId7" Type="http://schemas.openxmlformats.org/officeDocument/2006/relationships/slideLayout" Target="../slideLayouts/slideLayout35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30.xml"/><Relationship Id="rId1" Type="http://schemas.openxmlformats.org/officeDocument/2006/relationships/slideLayout" Target="../slideLayouts/slideLayout29.xml"/><Relationship Id="rId6" Type="http://schemas.openxmlformats.org/officeDocument/2006/relationships/slideLayout" Target="../slideLayouts/slideLayout34.xml"/><Relationship Id="rId11" Type="http://schemas.openxmlformats.org/officeDocument/2006/relationships/slideLayout" Target="../slideLayouts/slideLayout39.xml"/><Relationship Id="rId5" Type="http://schemas.openxmlformats.org/officeDocument/2006/relationships/slideLayout" Target="../slideLayouts/slideLayout33.xml"/><Relationship Id="rId10" Type="http://schemas.openxmlformats.org/officeDocument/2006/relationships/slideLayout" Target="../slideLayouts/slideLayout38.xml"/><Relationship Id="rId4" Type="http://schemas.openxmlformats.org/officeDocument/2006/relationships/slideLayout" Target="../slideLayouts/slideLayout32.xml"/><Relationship Id="rId9" Type="http://schemas.openxmlformats.org/officeDocument/2006/relationships/slideLayout" Target="../slideLayouts/slideLayout37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7.xml"/><Relationship Id="rId13" Type="http://schemas.openxmlformats.org/officeDocument/2006/relationships/image" Target="../media/image13.png"/><Relationship Id="rId3" Type="http://schemas.openxmlformats.org/officeDocument/2006/relationships/slideLayout" Target="../slideLayouts/slideLayout42.xml"/><Relationship Id="rId7" Type="http://schemas.openxmlformats.org/officeDocument/2006/relationships/slideLayout" Target="../slideLayouts/slideLayout46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41.xml"/><Relationship Id="rId1" Type="http://schemas.openxmlformats.org/officeDocument/2006/relationships/slideLayout" Target="../slideLayouts/slideLayout40.xml"/><Relationship Id="rId6" Type="http://schemas.openxmlformats.org/officeDocument/2006/relationships/slideLayout" Target="../slideLayouts/slideLayout45.xml"/><Relationship Id="rId11" Type="http://schemas.openxmlformats.org/officeDocument/2006/relationships/slideLayout" Target="../slideLayouts/slideLayout50.xml"/><Relationship Id="rId5" Type="http://schemas.openxmlformats.org/officeDocument/2006/relationships/slideLayout" Target="../slideLayouts/slideLayout44.xml"/><Relationship Id="rId10" Type="http://schemas.openxmlformats.org/officeDocument/2006/relationships/slideLayout" Target="../slideLayouts/slideLayout49.xml"/><Relationship Id="rId4" Type="http://schemas.openxmlformats.org/officeDocument/2006/relationships/slideLayout" Target="../slideLayouts/slideLayout43.xml"/><Relationship Id="rId9" Type="http://schemas.openxmlformats.org/officeDocument/2006/relationships/slideLayout" Target="../slideLayouts/slideLayout48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3" Type="http://schemas.openxmlformats.org/officeDocument/2006/relationships/slideLayout" Target="../slideLayouts/slideLayout53.xml"/><Relationship Id="rId7" Type="http://schemas.openxmlformats.org/officeDocument/2006/relationships/slideLayout" Target="../slideLayouts/slideLayout57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52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5" Type="http://schemas.openxmlformats.org/officeDocument/2006/relationships/slideLayout" Target="../slideLayouts/slideLayout55.xml"/><Relationship Id="rId10" Type="http://schemas.openxmlformats.org/officeDocument/2006/relationships/slideLayout" Target="../slideLayouts/slideLayout60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9.xml"/><Relationship Id="rId13" Type="http://schemas.openxmlformats.org/officeDocument/2006/relationships/theme" Target="../theme/theme6.xml"/><Relationship Id="rId3" Type="http://schemas.openxmlformats.org/officeDocument/2006/relationships/slideLayout" Target="../slideLayouts/slideLayout64.xml"/><Relationship Id="rId7" Type="http://schemas.openxmlformats.org/officeDocument/2006/relationships/slideLayout" Target="../slideLayouts/slideLayout68.xml"/><Relationship Id="rId12" Type="http://schemas.openxmlformats.org/officeDocument/2006/relationships/slideLayout" Target="../slideLayouts/slideLayout73.xml"/><Relationship Id="rId2" Type="http://schemas.openxmlformats.org/officeDocument/2006/relationships/slideLayout" Target="../slideLayouts/slideLayout63.xml"/><Relationship Id="rId1" Type="http://schemas.openxmlformats.org/officeDocument/2006/relationships/slideLayout" Target="../slideLayouts/slideLayout62.xml"/><Relationship Id="rId6" Type="http://schemas.openxmlformats.org/officeDocument/2006/relationships/slideLayout" Target="../slideLayouts/slideLayout67.xml"/><Relationship Id="rId11" Type="http://schemas.openxmlformats.org/officeDocument/2006/relationships/slideLayout" Target="../slideLayouts/slideLayout72.xml"/><Relationship Id="rId5" Type="http://schemas.openxmlformats.org/officeDocument/2006/relationships/slideLayout" Target="../slideLayouts/slideLayout66.xml"/><Relationship Id="rId10" Type="http://schemas.openxmlformats.org/officeDocument/2006/relationships/slideLayout" Target="../slideLayouts/slideLayout71.xml"/><Relationship Id="rId4" Type="http://schemas.openxmlformats.org/officeDocument/2006/relationships/slideLayout" Target="../slideLayouts/slideLayout65.xml"/><Relationship Id="rId9" Type="http://schemas.openxmlformats.org/officeDocument/2006/relationships/slideLayout" Target="../slideLayouts/slideLayout70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1.xml"/><Relationship Id="rId3" Type="http://schemas.openxmlformats.org/officeDocument/2006/relationships/slideLayout" Target="../slideLayouts/slideLayout76.xml"/><Relationship Id="rId7" Type="http://schemas.openxmlformats.org/officeDocument/2006/relationships/slideLayout" Target="../slideLayouts/slideLayout80.xml"/><Relationship Id="rId2" Type="http://schemas.openxmlformats.org/officeDocument/2006/relationships/slideLayout" Target="../slideLayouts/slideLayout75.xml"/><Relationship Id="rId1" Type="http://schemas.openxmlformats.org/officeDocument/2006/relationships/slideLayout" Target="../slideLayouts/slideLayout74.xml"/><Relationship Id="rId6" Type="http://schemas.openxmlformats.org/officeDocument/2006/relationships/slideLayout" Target="../slideLayouts/slideLayout79.xml"/><Relationship Id="rId11" Type="http://schemas.openxmlformats.org/officeDocument/2006/relationships/image" Target="../media/image13.png"/><Relationship Id="rId5" Type="http://schemas.openxmlformats.org/officeDocument/2006/relationships/slideLayout" Target="../slideLayouts/slideLayout78.xml"/><Relationship Id="rId10" Type="http://schemas.openxmlformats.org/officeDocument/2006/relationships/theme" Target="../theme/theme7.xml"/><Relationship Id="rId4" Type="http://schemas.openxmlformats.org/officeDocument/2006/relationships/slideLayout" Target="../slideLayouts/slideLayout77.xml"/><Relationship Id="rId9" Type="http://schemas.openxmlformats.org/officeDocument/2006/relationships/slideLayout" Target="../slideLayouts/slideLayout82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0.xml"/><Relationship Id="rId13" Type="http://schemas.openxmlformats.org/officeDocument/2006/relationships/slideLayout" Target="../slideLayouts/slideLayout95.xml"/><Relationship Id="rId3" Type="http://schemas.openxmlformats.org/officeDocument/2006/relationships/slideLayout" Target="../slideLayouts/slideLayout85.xml"/><Relationship Id="rId7" Type="http://schemas.openxmlformats.org/officeDocument/2006/relationships/slideLayout" Target="../slideLayouts/slideLayout89.xml"/><Relationship Id="rId12" Type="http://schemas.openxmlformats.org/officeDocument/2006/relationships/slideLayout" Target="../slideLayouts/slideLayout94.xml"/><Relationship Id="rId2" Type="http://schemas.openxmlformats.org/officeDocument/2006/relationships/slideLayout" Target="../slideLayouts/slideLayout84.xml"/><Relationship Id="rId1" Type="http://schemas.openxmlformats.org/officeDocument/2006/relationships/slideLayout" Target="../slideLayouts/slideLayout83.xml"/><Relationship Id="rId6" Type="http://schemas.openxmlformats.org/officeDocument/2006/relationships/slideLayout" Target="../slideLayouts/slideLayout88.xml"/><Relationship Id="rId11" Type="http://schemas.openxmlformats.org/officeDocument/2006/relationships/slideLayout" Target="../slideLayouts/slideLayout93.xml"/><Relationship Id="rId5" Type="http://schemas.openxmlformats.org/officeDocument/2006/relationships/slideLayout" Target="../slideLayouts/slideLayout87.xml"/><Relationship Id="rId10" Type="http://schemas.openxmlformats.org/officeDocument/2006/relationships/slideLayout" Target="../slideLayouts/slideLayout92.xml"/><Relationship Id="rId4" Type="http://schemas.openxmlformats.org/officeDocument/2006/relationships/slideLayout" Target="../slideLayouts/slideLayout86.xml"/><Relationship Id="rId9" Type="http://schemas.openxmlformats.org/officeDocument/2006/relationships/slideLayout" Target="../slideLayouts/slideLayout91.xml"/><Relationship Id="rId14" Type="http://schemas.openxmlformats.org/officeDocument/2006/relationships/theme" Target="../theme/theme8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3.xml"/><Relationship Id="rId13" Type="http://schemas.openxmlformats.org/officeDocument/2006/relationships/image" Target="../media/image13.png"/><Relationship Id="rId3" Type="http://schemas.openxmlformats.org/officeDocument/2006/relationships/slideLayout" Target="../slideLayouts/slideLayout98.xml"/><Relationship Id="rId7" Type="http://schemas.openxmlformats.org/officeDocument/2006/relationships/slideLayout" Target="../slideLayouts/slideLayout102.xml"/><Relationship Id="rId12" Type="http://schemas.openxmlformats.org/officeDocument/2006/relationships/theme" Target="../theme/theme9.xml"/><Relationship Id="rId2" Type="http://schemas.openxmlformats.org/officeDocument/2006/relationships/slideLayout" Target="../slideLayouts/slideLayout97.xml"/><Relationship Id="rId1" Type="http://schemas.openxmlformats.org/officeDocument/2006/relationships/slideLayout" Target="../slideLayouts/slideLayout96.xml"/><Relationship Id="rId6" Type="http://schemas.openxmlformats.org/officeDocument/2006/relationships/slideLayout" Target="../slideLayouts/slideLayout101.xml"/><Relationship Id="rId11" Type="http://schemas.openxmlformats.org/officeDocument/2006/relationships/slideLayout" Target="../slideLayouts/slideLayout106.xml"/><Relationship Id="rId5" Type="http://schemas.openxmlformats.org/officeDocument/2006/relationships/slideLayout" Target="../slideLayouts/slideLayout100.xml"/><Relationship Id="rId10" Type="http://schemas.openxmlformats.org/officeDocument/2006/relationships/slideLayout" Target="../slideLayouts/slideLayout105.xml"/><Relationship Id="rId4" Type="http://schemas.openxmlformats.org/officeDocument/2006/relationships/slideLayout" Target="../slideLayouts/slideLayout99.xml"/><Relationship Id="rId9" Type="http://schemas.openxmlformats.org/officeDocument/2006/relationships/slideLayout" Target="../slideLayouts/slideLayout10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3"/>
            </p:custDataLst>
            <p:extLst/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08" name="think-cell Slide" r:id="rId14" imgW="270" imgH="270" progId="TCLayout.ActiveDocument.1">
                  <p:embed/>
                </p:oleObj>
              </mc:Choice>
              <mc:Fallback>
                <p:oleObj name="think-cell Slide" r:id="rId1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1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1" y="1189178"/>
            <a:ext cx="11653521" cy="2052030"/>
          </a:xfrm>
          <a:prstGeom prst="rect">
            <a:avLst/>
          </a:prstGeom>
        </p:spPr>
        <p:txBody>
          <a:bodyPr vert="horz" wrap="square" lIns="182880" tIns="146304" rIns="182880" bIns="146304" rtlCol="0">
            <a:no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448212" y="6561764"/>
            <a:ext cx="3859607" cy="134483"/>
          </a:xfrm>
          <a:prstGeom prst="rect">
            <a:avLst/>
          </a:prstGeom>
        </p:spPr>
        <p:txBody>
          <a:bodyPr vert="horz" lIns="0" tIns="0" rIns="91440" bIns="0" rtlCol="0" anchor="ctr"/>
          <a:lstStyle>
            <a:lvl1pPr marL="0" algn="l" defTabSz="914367" rtl="0" eaLnBrk="1" latinLnBrk="0" hangingPunct="1">
              <a:defRPr lang="en-US" sz="882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smtClean="0">
                <a:solidFill>
                  <a:srgbClr val="505050"/>
                </a:solidFill>
              </a:rPr>
              <a:t>Microsoft Confidential</a:t>
            </a:r>
            <a:endParaRPr>
              <a:solidFill>
                <a:srgbClr val="50505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1367166" y="6561764"/>
            <a:ext cx="555596" cy="134483"/>
          </a:xfrm>
          <a:prstGeom prst="rect">
            <a:avLst/>
          </a:prstGeom>
        </p:spPr>
        <p:txBody>
          <a:bodyPr vert="horz" lIns="91440" tIns="0" rIns="0" bIns="0" rtlCol="0" anchor="ctr"/>
          <a:lstStyle>
            <a:lvl1pPr algn="r">
              <a:defRPr lang="en-US" sz="882" b="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914367"/>
            <a:fld id="{27258FFF-F925-446B-8502-81C933981705}" type="slidenum">
              <a:rPr lang="en-US" smtClean="0">
                <a:solidFill>
                  <a:srgbClr val="505050"/>
                </a:solidFill>
              </a:rPr>
              <a:pPr defTabSz="914367"/>
              <a:t>‹#›</a:t>
            </a:fld>
            <a:endParaRPr lang="en-US">
              <a:solidFill>
                <a:srgbClr val="505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703375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4" r:id="rId1"/>
    <p:sldLayoutId id="2147484102" r:id="rId2"/>
    <p:sldLayoutId id="2147483675" r:id="rId3"/>
    <p:sldLayoutId id="2147483680" r:id="rId4"/>
    <p:sldLayoutId id="2147483682" r:id="rId5"/>
    <p:sldLayoutId id="2147483686" r:id="rId6"/>
    <p:sldLayoutId id="2147483683" r:id="rId7"/>
    <p:sldLayoutId id="2147483684" r:id="rId8"/>
    <p:sldLayoutId id="2147484103" r:id="rId9"/>
    <p:sldLayoutId id="2147484104" r:id="rId10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  <p:txStyles>
    <p:titleStyle>
      <a:lvl1pPr algn="l" defTabSz="914367" rtl="0" eaLnBrk="1" latinLnBrk="0" hangingPunct="1">
        <a:lnSpc>
          <a:spcPct val="90000"/>
        </a:lnSpc>
        <a:spcBef>
          <a:spcPct val="0"/>
        </a:spcBef>
        <a:buNone/>
        <a:defRPr lang="en-US" sz="4400" b="0" kern="1200" cap="none" spc="-100" baseline="0" dirty="0" smtClean="0">
          <a:ln w="3175">
            <a:noFill/>
          </a:ln>
          <a:solidFill>
            <a:schemeClr val="tx2"/>
          </a:solidFill>
          <a:effectLst/>
          <a:latin typeface="+mj-lt"/>
          <a:ea typeface="+mn-ea"/>
          <a:cs typeface="Segoe UI" pitchFamily="34" charset="0"/>
        </a:defRPr>
      </a:lvl1pPr>
    </p:titleStyle>
    <p:bodyStyle>
      <a:lvl1pPr marL="336145" marR="0" indent="-336145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921" kern="1200" spc="0" baseline="0">
          <a:solidFill>
            <a:schemeClr val="tx2"/>
          </a:solidFill>
          <a:latin typeface="+mj-lt"/>
          <a:ea typeface="+mn-ea"/>
          <a:cs typeface="+mn-cs"/>
        </a:defRPr>
      </a:lvl1pPr>
      <a:lvl2pPr marL="572691" marR="0" indent="-236546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353" kern="1200" spc="0" baseline="0">
          <a:solidFill>
            <a:schemeClr val="tx2"/>
          </a:solidFill>
          <a:latin typeface="+mn-lt"/>
          <a:ea typeface="+mn-ea"/>
          <a:cs typeface="+mn-cs"/>
        </a:defRPr>
      </a:lvl2pPr>
      <a:lvl3pPr marL="784338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961" kern="1200" spc="0" baseline="0">
          <a:solidFill>
            <a:schemeClr val="tx2"/>
          </a:solidFill>
          <a:latin typeface="+mn-lt"/>
          <a:ea typeface="+mn-ea"/>
          <a:cs typeface="+mn-cs"/>
        </a:defRPr>
      </a:lvl3pPr>
      <a:lvl4pPr marL="1008435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solidFill>
            <a:schemeClr val="tx2"/>
          </a:solidFill>
          <a:latin typeface="+mn-lt"/>
          <a:ea typeface="+mn-ea"/>
          <a:cs typeface="+mn-cs"/>
        </a:defRPr>
      </a:lvl4pPr>
      <a:lvl5pPr marL="1232531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solidFill>
            <a:schemeClr val="tx2"/>
          </a:solidFill>
          <a:latin typeface="+mn-lt"/>
          <a:ea typeface="+mn-ea"/>
          <a:cs typeface="+mn-cs"/>
        </a:defRPr>
      </a:lvl5pPr>
      <a:lvl6pPr marL="2514509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3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877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6061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183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367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55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73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918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3101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20028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7469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2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2" y="1189178"/>
            <a:ext cx="11653521" cy="2052030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8"/>
          <a:stretch>
            <a:fillRect/>
          </a:stretch>
        </p:blipFill>
        <p:spPr>
          <a:xfrm rot="5400000">
            <a:off x="9208748" y="2991034"/>
            <a:ext cx="6858623" cy="876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78443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17" r:id="rId1"/>
    <p:sldLayoutId id="2147484018" r:id="rId2"/>
    <p:sldLayoutId id="2147484019" r:id="rId3"/>
    <p:sldLayoutId id="2147484020" r:id="rId4"/>
    <p:sldLayoutId id="2147484021" r:id="rId5"/>
    <p:sldLayoutId id="2147484022" r:id="rId6"/>
    <p:sldLayoutId id="2147484023" r:id="rId7"/>
    <p:sldLayoutId id="2147484024" r:id="rId8"/>
    <p:sldLayoutId id="2147484025" r:id="rId9"/>
    <p:sldLayoutId id="2147484026" r:id="rId10"/>
    <p:sldLayoutId id="2147484027" r:id="rId11"/>
    <p:sldLayoutId id="2147484028" r:id="rId12"/>
    <p:sldLayoutId id="2147484029" r:id="rId13"/>
    <p:sldLayoutId id="2147484030" r:id="rId14"/>
    <p:sldLayoutId id="2147484031" r:id="rId15"/>
    <p:sldLayoutId id="2147484032" r:id="rId16"/>
    <p:sldLayoutId id="2147484033" r:id="rId17"/>
    <p:sldLayoutId id="2147484034" r:id="rId18"/>
    <p:sldLayoutId id="2147484035" r:id="rId19"/>
    <p:sldLayoutId id="2147484036" r:id="rId20"/>
    <p:sldLayoutId id="2147484037" r:id="rId21"/>
    <p:sldLayoutId id="2147484038" r:id="rId22"/>
    <p:sldLayoutId id="2147484039" r:id="rId23"/>
    <p:sldLayoutId id="2147484040" r:id="rId24"/>
    <p:sldLayoutId id="2147484042" r:id="rId25"/>
    <p:sldLayoutId id="2147484043" r:id="rId26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txStyles>
    <p:titleStyle>
      <a:lvl1pPr algn="l" defTabSz="914192" rtl="0" eaLnBrk="1" latinLnBrk="0" hangingPunct="1">
        <a:lnSpc>
          <a:spcPct val="90000"/>
        </a:lnSpc>
        <a:spcBef>
          <a:spcPct val="0"/>
        </a:spcBef>
        <a:buNone/>
        <a:defRPr lang="en-US" sz="4704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36080" marR="0" indent="-336080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92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72581" marR="0" indent="-236500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84187" marR="0" indent="-224054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96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08241" marR="0" indent="-224054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32294" marR="0" indent="-224054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4026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123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219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5315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095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192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287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383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479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2575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199670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6767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2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2" y="1189178"/>
            <a:ext cx="11653521" cy="2052030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8"/>
          <a:stretch>
            <a:fillRect/>
          </a:stretch>
        </p:blipFill>
        <p:spPr>
          <a:xfrm rot="5400000">
            <a:off x="9208748" y="2991034"/>
            <a:ext cx="6858623" cy="876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7548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45" r:id="rId1"/>
    <p:sldLayoutId id="2147484046" r:id="rId2"/>
    <p:sldLayoutId id="2147484047" r:id="rId3"/>
    <p:sldLayoutId id="2147484048" r:id="rId4"/>
    <p:sldLayoutId id="2147484049" r:id="rId5"/>
    <p:sldLayoutId id="2147484050" r:id="rId6"/>
    <p:sldLayoutId id="2147484051" r:id="rId7"/>
    <p:sldLayoutId id="2147484052" r:id="rId8"/>
    <p:sldLayoutId id="2147484053" r:id="rId9"/>
    <p:sldLayoutId id="2147484054" r:id="rId10"/>
    <p:sldLayoutId id="2147484055" r:id="rId11"/>
    <p:sldLayoutId id="2147484056" r:id="rId12"/>
    <p:sldLayoutId id="2147484057" r:id="rId13"/>
    <p:sldLayoutId id="2147484058" r:id="rId14"/>
    <p:sldLayoutId id="2147484059" r:id="rId15"/>
    <p:sldLayoutId id="2147484060" r:id="rId16"/>
    <p:sldLayoutId id="2147484061" r:id="rId17"/>
    <p:sldLayoutId id="2147484062" r:id="rId18"/>
    <p:sldLayoutId id="2147484063" r:id="rId19"/>
    <p:sldLayoutId id="2147484064" r:id="rId20"/>
    <p:sldLayoutId id="2147484065" r:id="rId21"/>
    <p:sldLayoutId id="2147484066" r:id="rId22"/>
    <p:sldLayoutId id="2147484067" r:id="rId23"/>
    <p:sldLayoutId id="2147484068" r:id="rId24"/>
    <p:sldLayoutId id="2147484070" r:id="rId25"/>
    <p:sldLayoutId id="2147484071" r:id="rId26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txStyles>
    <p:titleStyle>
      <a:lvl1pPr algn="l" defTabSz="914192" rtl="0" eaLnBrk="1" latinLnBrk="0" hangingPunct="1">
        <a:lnSpc>
          <a:spcPct val="90000"/>
        </a:lnSpc>
        <a:spcBef>
          <a:spcPct val="0"/>
        </a:spcBef>
        <a:buNone/>
        <a:defRPr lang="en-US" sz="4704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36080" marR="0" indent="-336080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92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72581" marR="0" indent="-236500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84187" marR="0" indent="-224054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96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08241" marR="0" indent="-224054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32294" marR="0" indent="-224054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4026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123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219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5315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095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192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287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383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479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2575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199670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6767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4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4" y="1189178"/>
            <a:ext cx="11653521" cy="2052030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0"/>
          <a:stretch>
            <a:fillRect/>
          </a:stretch>
        </p:blipFill>
        <p:spPr>
          <a:xfrm rot="5400000">
            <a:off x="9208748" y="2991036"/>
            <a:ext cx="6858623" cy="876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04106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74" r:id="rId1"/>
    <p:sldLayoutId id="2147484075" r:id="rId2"/>
    <p:sldLayoutId id="2147484076" r:id="rId3"/>
    <p:sldLayoutId id="2147484077" r:id="rId4"/>
    <p:sldLayoutId id="2147484078" r:id="rId5"/>
    <p:sldLayoutId id="2147484079" r:id="rId6"/>
    <p:sldLayoutId id="2147484080" r:id="rId7"/>
    <p:sldLayoutId id="2147484081" r:id="rId8"/>
    <p:sldLayoutId id="2147484082" r:id="rId9"/>
    <p:sldLayoutId id="2147484083" r:id="rId10"/>
    <p:sldLayoutId id="2147484084" r:id="rId11"/>
    <p:sldLayoutId id="2147484085" r:id="rId12"/>
    <p:sldLayoutId id="2147484086" r:id="rId13"/>
    <p:sldLayoutId id="2147484087" r:id="rId14"/>
    <p:sldLayoutId id="2147484088" r:id="rId15"/>
    <p:sldLayoutId id="2147484089" r:id="rId16"/>
    <p:sldLayoutId id="2147484090" r:id="rId17"/>
    <p:sldLayoutId id="2147484091" r:id="rId18"/>
    <p:sldLayoutId id="2147484092" r:id="rId19"/>
    <p:sldLayoutId id="2147484093" r:id="rId20"/>
    <p:sldLayoutId id="2147484094" r:id="rId21"/>
    <p:sldLayoutId id="2147484095" r:id="rId22"/>
    <p:sldLayoutId id="2147484096" r:id="rId23"/>
    <p:sldLayoutId id="2147484097" r:id="rId24"/>
    <p:sldLayoutId id="2147484098" r:id="rId25"/>
    <p:sldLayoutId id="2147484099" r:id="rId26"/>
    <p:sldLayoutId id="2147484100" r:id="rId27"/>
    <p:sldLayoutId id="2147484101" r:id="rId28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txStyles>
    <p:titleStyle>
      <a:lvl1pPr algn="l" defTabSz="913841" rtl="0" eaLnBrk="1" latinLnBrk="0" hangingPunct="1">
        <a:lnSpc>
          <a:spcPct val="90000"/>
        </a:lnSpc>
        <a:spcBef>
          <a:spcPct val="0"/>
        </a:spcBef>
        <a:buNone/>
        <a:defRPr lang="en-US" sz="4702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35951" marR="0" indent="-335951" algn="l" defTabSz="913841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918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72361" marR="0" indent="-236408" algn="l" defTabSz="913841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83885" marR="0" indent="-223968" algn="l" defTabSz="913841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96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07853" marR="0" indent="-223968" algn="l" defTabSz="913841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31821" marR="0" indent="-223968" algn="l" defTabSz="913841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3061" indent="-228460" algn="l" defTabSz="913841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69982" indent="-228460" algn="l" defTabSz="913841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6902" indent="-228460" algn="l" defTabSz="913841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3823" indent="-228460" algn="l" defTabSz="913841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841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6919" algn="l" defTabSz="913841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3841" algn="l" defTabSz="913841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0760" algn="l" defTabSz="913841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7681" algn="l" defTabSz="913841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4601" algn="l" defTabSz="913841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1522" algn="l" defTabSz="913841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198440" algn="l" defTabSz="913841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5363" algn="l" defTabSz="913841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91">
          <p15:clr>
            <a:srgbClr val="5ACBF0"/>
          </p15:clr>
        </p15:guide>
        <p15:guide id="2" pos="176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94">
          <p15:clr>
            <a:srgbClr val="C35EA4"/>
          </p15:clr>
        </p15:guide>
        <p15:guide id="17" pos="7565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8">
          <p15:clr>
            <a:srgbClr val="C35EA4"/>
          </p15:clr>
        </p15:guide>
        <p15:guide id="26" orient="horz" pos="4123">
          <p15:clr>
            <a:srgbClr val="C35EA4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1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1" y="1189178"/>
            <a:ext cx="11653521" cy="5322458"/>
          </a:xfrm>
          <a:prstGeom prst="rect">
            <a:avLst/>
          </a:prstGeom>
        </p:spPr>
        <p:txBody>
          <a:bodyPr vert="horz" wrap="square" lIns="146304" tIns="91440" rIns="146304" bIns="91440" rtlCol="0">
            <a:no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2849670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0" r:id="rId1"/>
    <p:sldLayoutId id="2147483831" r:id="rId2"/>
    <p:sldLayoutId id="2147483832" r:id="rId3"/>
    <p:sldLayoutId id="2147483833" r:id="rId4"/>
    <p:sldLayoutId id="2147483834" r:id="rId5"/>
    <p:sldLayoutId id="2147483835" r:id="rId6"/>
    <p:sldLayoutId id="2147483836" r:id="rId7"/>
    <p:sldLayoutId id="2147483837" r:id="rId8"/>
    <p:sldLayoutId id="2147483838" r:id="rId9"/>
    <p:sldLayoutId id="2147483839" r:id="rId10"/>
    <p:sldLayoutId id="2147483840" r:id="rId11"/>
    <p:sldLayoutId id="2147483841" r:id="rId12"/>
    <p:sldLayoutId id="2147483842" r:id="rId13"/>
    <p:sldLayoutId id="2147483843" r:id="rId14"/>
    <p:sldLayoutId id="2147483844" r:id="rId15"/>
    <p:sldLayoutId id="2147483845" r:id="rId16"/>
    <p:sldLayoutId id="2147483848" r:id="rId17"/>
    <p:sldLayoutId id="2147483856" r:id="rId18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txStyles>
    <p:titleStyle>
      <a:lvl1pPr algn="l" defTabSz="914367" rtl="0" eaLnBrk="1" latinLnBrk="0" hangingPunct="1">
        <a:lnSpc>
          <a:spcPct val="90000"/>
        </a:lnSpc>
        <a:spcBef>
          <a:spcPct val="0"/>
        </a:spcBef>
        <a:buNone/>
        <a:defRPr lang="en-US" sz="4800" b="0" kern="1200" cap="none" spc="-100" baseline="0" dirty="0" smtClean="0">
          <a:ln w="3175">
            <a:noFill/>
          </a:ln>
          <a:solidFill>
            <a:schemeClr val="accent1"/>
          </a:solidFill>
          <a:effectLst/>
          <a:latin typeface="+mj-lt"/>
          <a:ea typeface="+mn-ea"/>
          <a:cs typeface="Segoe UI" pitchFamily="34" charset="0"/>
        </a:defRPr>
      </a:lvl1pPr>
    </p:titleStyle>
    <p:bodyStyle>
      <a:lvl1pPr marL="182880" marR="0" indent="-182880" algn="l" defTabSz="914367" rtl="0" eaLnBrk="1" fontAlgn="auto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SzPct val="90000"/>
        <a:buFont typeface="Arial" pitchFamily="34" charset="0"/>
        <a:buChar char="•"/>
        <a:tabLst/>
        <a:defRPr sz="3200" kern="1200" spc="0" baseline="0">
          <a:solidFill>
            <a:schemeClr val="accent1"/>
          </a:solidFill>
          <a:latin typeface="+mj-lt"/>
          <a:ea typeface="+mn-ea"/>
          <a:cs typeface="+mn-cs"/>
        </a:defRPr>
      </a:lvl1pPr>
      <a:lvl2pPr marL="365760" marR="0" indent="-182880" algn="l" defTabSz="914367" rtl="0" eaLnBrk="1" fontAlgn="auto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SzPct val="90000"/>
        <a:buFont typeface="Arial" pitchFamily="34" charset="0"/>
        <a:buChar char="•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2pPr>
      <a:lvl3pPr marL="548640" marR="0" indent="-182880" algn="l" defTabSz="914367" rtl="0" eaLnBrk="1" fontAlgn="auto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SzPct val="90000"/>
        <a:buFont typeface="Arial" pitchFamily="34" charset="0"/>
        <a:buChar char="•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3pPr>
      <a:lvl4pPr marL="1008435" marR="0" indent="-224097" algn="l" defTabSz="914367" rtl="0" eaLnBrk="1" fontAlgn="auto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32531" marR="0" indent="-224097" algn="l" defTabSz="914367" rtl="0" eaLnBrk="1" fontAlgn="auto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4509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3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877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6061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183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367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55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73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918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3101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20028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7469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4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4" y="1189178"/>
            <a:ext cx="11653521" cy="2052030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9208748" y="2991036"/>
            <a:ext cx="6858623" cy="876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40746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1" r:id="rId1"/>
    <p:sldLayoutId id="2147483862" r:id="rId2"/>
    <p:sldLayoutId id="2147483863" r:id="rId3"/>
    <p:sldLayoutId id="2147483864" r:id="rId4"/>
    <p:sldLayoutId id="2147483865" r:id="rId5"/>
    <p:sldLayoutId id="2147483866" r:id="rId6"/>
    <p:sldLayoutId id="2147483867" r:id="rId7"/>
    <p:sldLayoutId id="2147483868" r:id="rId8"/>
    <p:sldLayoutId id="2147483869" r:id="rId9"/>
    <p:sldLayoutId id="2147483870" r:id="rId10"/>
    <p:sldLayoutId id="2147483874" r:id="rId1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txStyles>
    <p:titleStyle>
      <a:lvl1pPr algn="l" defTabSz="913841" rtl="0" eaLnBrk="1" latinLnBrk="0" hangingPunct="1">
        <a:lnSpc>
          <a:spcPct val="90000"/>
        </a:lnSpc>
        <a:spcBef>
          <a:spcPct val="0"/>
        </a:spcBef>
        <a:buNone/>
        <a:defRPr lang="en-US" sz="4702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35951" marR="0" indent="-335951" algn="l" defTabSz="913841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918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72361" marR="0" indent="-236408" algn="l" defTabSz="913841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83885" marR="0" indent="-223968" algn="l" defTabSz="913841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96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07853" marR="0" indent="-223968" algn="l" defTabSz="913841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31821" marR="0" indent="-223968" algn="l" defTabSz="913841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3061" indent="-228460" algn="l" defTabSz="913841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69982" indent="-228460" algn="l" defTabSz="913841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6902" indent="-228460" algn="l" defTabSz="913841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3823" indent="-228460" algn="l" defTabSz="913841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841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6919" algn="l" defTabSz="913841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3841" algn="l" defTabSz="913841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0760" algn="l" defTabSz="913841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7681" algn="l" defTabSz="913841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4601" algn="l" defTabSz="913841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1522" algn="l" defTabSz="913841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198440" algn="l" defTabSz="913841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5363" algn="l" defTabSz="913841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91">
          <p15:clr>
            <a:srgbClr val="5ACBF0"/>
          </p15:clr>
        </p15:guide>
        <p15:guide id="2" pos="176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94">
          <p15:clr>
            <a:srgbClr val="C35EA4"/>
          </p15:clr>
        </p15:guide>
        <p15:guide id="17" pos="7565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8">
          <p15:clr>
            <a:srgbClr val="C35EA4"/>
          </p15:clr>
        </p15:guide>
        <p15:guide id="26" orient="horz" pos="4123">
          <p15:clr>
            <a:srgbClr val="C35EA4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2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2" y="1189178"/>
            <a:ext cx="11653521" cy="2052030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9208748" y="2991034"/>
            <a:ext cx="6858623" cy="876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31037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7" r:id="rId1"/>
    <p:sldLayoutId id="2147483888" r:id="rId2"/>
    <p:sldLayoutId id="2147483889" r:id="rId3"/>
    <p:sldLayoutId id="2147483890" r:id="rId4"/>
    <p:sldLayoutId id="2147483891" r:id="rId5"/>
    <p:sldLayoutId id="2147483892" r:id="rId6"/>
    <p:sldLayoutId id="2147483893" r:id="rId7"/>
    <p:sldLayoutId id="2147483894" r:id="rId8"/>
    <p:sldLayoutId id="2147483895" r:id="rId9"/>
    <p:sldLayoutId id="2147483896" r:id="rId10"/>
    <p:sldLayoutId id="2147483913" r:id="rId1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txStyles>
    <p:titleStyle>
      <a:lvl1pPr algn="l" defTabSz="914192" rtl="0" eaLnBrk="1" latinLnBrk="0" hangingPunct="1">
        <a:lnSpc>
          <a:spcPct val="90000"/>
        </a:lnSpc>
        <a:spcBef>
          <a:spcPct val="0"/>
        </a:spcBef>
        <a:buNone/>
        <a:defRPr lang="en-US" sz="4704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36080" marR="0" indent="-336080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92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72581" marR="0" indent="-236500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84187" marR="0" indent="-224054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96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08241" marR="0" indent="-224054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32294" marR="0" indent="-224054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4026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123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219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5315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095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192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287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383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479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2575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199670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6767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1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1" y="1189178"/>
            <a:ext cx="11653521" cy="5322458"/>
          </a:xfrm>
          <a:prstGeom prst="rect">
            <a:avLst/>
          </a:prstGeom>
        </p:spPr>
        <p:txBody>
          <a:bodyPr vert="horz" wrap="square" lIns="146304" tIns="91440" rIns="146304" bIns="91440" rtlCol="0">
            <a:no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40726039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5" r:id="rId1"/>
    <p:sldLayoutId id="2147483916" r:id="rId2"/>
    <p:sldLayoutId id="2147483917" r:id="rId3"/>
    <p:sldLayoutId id="2147483920" r:id="rId4"/>
    <p:sldLayoutId id="2147483921" r:id="rId5"/>
    <p:sldLayoutId id="2147483922" r:id="rId6"/>
    <p:sldLayoutId id="2147483923" r:id="rId7"/>
    <p:sldLayoutId id="2147483924" r:id="rId8"/>
    <p:sldLayoutId id="2147483925" r:id="rId9"/>
    <p:sldLayoutId id="2147483926" r:id="rId10"/>
    <p:sldLayoutId id="2147483927" r:id="rId1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txStyles>
    <p:titleStyle>
      <a:lvl1pPr algn="l" defTabSz="914367" rtl="0" eaLnBrk="1" latinLnBrk="0" hangingPunct="1">
        <a:lnSpc>
          <a:spcPct val="90000"/>
        </a:lnSpc>
        <a:spcBef>
          <a:spcPct val="0"/>
        </a:spcBef>
        <a:buNone/>
        <a:defRPr lang="en-US" sz="4800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182880" marR="0" indent="-182880" algn="l" defTabSz="914367" rtl="0" eaLnBrk="1" fontAlgn="auto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SzPct val="90000"/>
        <a:buFont typeface="Arial" pitchFamily="34" charset="0"/>
        <a:buChar char="•"/>
        <a:tabLst/>
        <a:defRPr sz="3200" kern="1200" spc="0" baseline="0">
          <a:solidFill>
            <a:schemeClr val="accent1"/>
          </a:solidFill>
          <a:latin typeface="+mj-lt"/>
          <a:ea typeface="+mn-ea"/>
          <a:cs typeface="+mn-cs"/>
        </a:defRPr>
      </a:lvl1pPr>
      <a:lvl2pPr marL="365760" marR="0" indent="-182880" algn="l" defTabSz="914367" rtl="0" eaLnBrk="1" fontAlgn="auto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SzPct val="90000"/>
        <a:buFont typeface="Arial" pitchFamily="34" charset="0"/>
        <a:buChar char="•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2pPr>
      <a:lvl3pPr marL="548640" marR="0" indent="-182880" algn="l" defTabSz="914367" rtl="0" eaLnBrk="1" fontAlgn="auto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SzPct val="90000"/>
        <a:buFont typeface="Arial" pitchFamily="34" charset="0"/>
        <a:buChar char="•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3pPr>
      <a:lvl4pPr marL="1008435" marR="0" indent="-224097" algn="l" defTabSz="914367" rtl="0" eaLnBrk="1" fontAlgn="auto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32531" marR="0" indent="-224097" algn="l" defTabSz="914367" rtl="0" eaLnBrk="1" fontAlgn="auto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4509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3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877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6061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183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367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55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73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918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3101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20028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7469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1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1" y="1189178"/>
            <a:ext cx="11653521" cy="5322458"/>
          </a:xfrm>
          <a:prstGeom prst="rect">
            <a:avLst/>
          </a:prstGeom>
        </p:spPr>
        <p:txBody>
          <a:bodyPr vert="horz" wrap="square" lIns="146304" tIns="91440" rIns="146304" bIns="91440" rtlCol="0">
            <a:no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6790912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40" r:id="rId1"/>
    <p:sldLayoutId id="2147483941" r:id="rId2"/>
    <p:sldLayoutId id="2147483942" r:id="rId3"/>
    <p:sldLayoutId id="2147483948" r:id="rId4"/>
    <p:sldLayoutId id="2147483949" r:id="rId5"/>
    <p:sldLayoutId id="2147483950" r:id="rId6"/>
    <p:sldLayoutId id="2147483951" r:id="rId7"/>
    <p:sldLayoutId id="2147483952" r:id="rId8"/>
    <p:sldLayoutId id="2147483953" r:id="rId9"/>
    <p:sldLayoutId id="2147483954" r:id="rId10"/>
    <p:sldLayoutId id="2147483955" r:id="rId11"/>
    <p:sldLayoutId id="2147483964" r:id="rId1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txStyles>
    <p:titleStyle>
      <a:lvl1pPr algn="l" defTabSz="914367" rtl="0" eaLnBrk="1" latinLnBrk="0" hangingPunct="1">
        <a:lnSpc>
          <a:spcPct val="90000"/>
        </a:lnSpc>
        <a:spcBef>
          <a:spcPct val="0"/>
        </a:spcBef>
        <a:buNone/>
        <a:defRPr lang="en-US" sz="4800" b="0" kern="1200" cap="none" spc="-100" baseline="0" dirty="0" smtClean="0">
          <a:ln w="3175">
            <a:noFill/>
          </a:ln>
          <a:solidFill>
            <a:schemeClr val="accent1"/>
          </a:solidFill>
          <a:effectLst/>
          <a:latin typeface="+mj-lt"/>
          <a:ea typeface="+mn-ea"/>
          <a:cs typeface="Segoe UI" pitchFamily="34" charset="0"/>
        </a:defRPr>
      </a:lvl1pPr>
    </p:titleStyle>
    <p:bodyStyle>
      <a:lvl1pPr marL="182880" marR="0" indent="-182880" algn="l" defTabSz="914367" rtl="0" eaLnBrk="1" fontAlgn="auto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SzPct val="90000"/>
        <a:buFont typeface="Arial" pitchFamily="34" charset="0"/>
        <a:buChar char="•"/>
        <a:tabLst/>
        <a:defRPr sz="3200" kern="1200" spc="0" baseline="0">
          <a:solidFill>
            <a:schemeClr val="accent1"/>
          </a:solidFill>
          <a:latin typeface="+mj-lt"/>
          <a:ea typeface="+mn-ea"/>
          <a:cs typeface="+mn-cs"/>
        </a:defRPr>
      </a:lvl1pPr>
      <a:lvl2pPr marL="365760" marR="0" indent="-182880" algn="l" defTabSz="914367" rtl="0" eaLnBrk="1" fontAlgn="auto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SzPct val="90000"/>
        <a:buFont typeface="Arial" pitchFamily="34" charset="0"/>
        <a:buChar char="•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2pPr>
      <a:lvl3pPr marL="548640" marR="0" indent="-182880" algn="l" defTabSz="914367" rtl="0" eaLnBrk="1" fontAlgn="auto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SzPct val="90000"/>
        <a:buFont typeface="Arial" pitchFamily="34" charset="0"/>
        <a:buChar char="•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3pPr>
      <a:lvl4pPr marL="1008435" marR="0" indent="-224097" algn="l" defTabSz="914367" rtl="0" eaLnBrk="1" fontAlgn="auto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32531" marR="0" indent="-224097" algn="l" defTabSz="914367" rtl="0" eaLnBrk="1" fontAlgn="auto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4509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3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877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6061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183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367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55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73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918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3101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20028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7469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2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1" y="1189179"/>
            <a:ext cx="11653521" cy="2052030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9208748" y="2991033"/>
            <a:ext cx="6858623" cy="876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7462588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970" r:id="rId1"/>
    <p:sldLayoutId id="2147483971" r:id="rId2"/>
    <p:sldLayoutId id="2147483972" r:id="rId3"/>
    <p:sldLayoutId id="2147483973" r:id="rId4"/>
    <p:sldLayoutId id="2147483974" r:id="rId5"/>
    <p:sldLayoutId id="2147483975" r:id="rId6"/>
    <p:sldLayoutId id="2147483976" r:id="rId7"/>
    <p:sldLayoutId id="2147483977" r:id="rId8"/>
    <p:sldLayoutId id="2147483978" r:id="rId9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txStyles>
    <p:titleStyle>
      <a:lvl1pPr algn="l" defTabSz="914293" rtl="0" eaLnBrk="1" latinLnBrk="0" hangingPunct="1">
        <a:lnSpc>
          <a:spcPct val="90000"/>
        </a:lnSpc>
        <a:spcBef>
          <a:spcPct val="0"/>
        </a:spcBef>
        <a:buNone/>
        <a:defRPr lang="en-US" sz="4705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36118" marR="0" indent="-336118" algn="l" defTabSz="91429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>
          <a:schemeClr val="tx1"/>
        </a:buClr>
        <a:buSzPct val="90000"/>
        <a:buFont typeface="Wingdings" panose="05000000000000000000" pitchFamily="2" charset="2"/>
        <a:buChar char="§"/>
        <a:tabLst/>
        <a:defRPr sz="392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72646" marR="0" indent="-236528" algn="l" defTabSz="91429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>
          <a:schemeClr val="tx1"/>
        </a:buClr>
        <a:buSzPct val="90000"/>
        <a:buFont typeface="Wingdings" panose="05000000000000000000" pitchFamily="2" charset="2"/>
        <a:buChar char="§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84275" marR="0" indent="-224079" algn="l" defTabSz="91429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>
          <a:schemeClr val="tx1"/>
        </a:buClr>
        <a:buSzPct val="90000"/>
        <a:buFont typeface="Wingdings" panose="05000000000000000000" pitchFamily="2" charset="2"/>
        <a:buChar char="§"/>
        <a:tabLst/>
        <a:defRPr sz="196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08354" marR="0" indent="-224079" algn="l" defTabSz="91429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>
          <a:schemeClr val="tx1"/>
        </a:buClr>
        <a:buSzPct val="90000"/>
        <a:buFont typeface="Wingdings" panose="05000000000000000000" pitchFamily="2" charset="2"/>
        <a:buChar char="§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32432" marR="0" indent="-224079" algn="l" defTabSz="91429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>
          <a:schemeClr val="tx1"/>
        </a:buClr>
        <a:buSzPct val="90000"/>
        <a:buFont typeface="Wingdings" panose="05000000000000000000" pitchFamily="2" charset="2"/>
        <a:buChar char="§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4307" indent="-228574" algn="l" defTabSz="914293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456" indent="-228574" algn="l" defTabSz="914293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602" indent="-228574" algn="l" defTabSz="914293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5750" indent="-228574" algn="l" defTabSz="914293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293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147" algn="l" defTabSz="914293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293" algn="l" defTabSz="914293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441" algn="l" defTabSz="914293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587" algn="l" defTabSz="914293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736" algn="l" defTabSz="914293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2881" algn="l" defTabSz="914293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200029" algn="l" defTabSz="914293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7176" algn="l" defTabSz="914293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1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1" y="1189178"/>
            <a:ext cx="11653521" cy="5322458"/>
          </a:xfrm>
          <a:prstGeom prst="rect">
            <a:avLst/>
          </a:prstGeom>
        </p:spPr>
        <p:txBody>
          <a:bodyPr vert="horz" wrap="square" lIns="146304" tIns="91440" rIns="146304" bIns="91440" rtlCol="0">
            <a:no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3281378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81" r:id="rId1"/>
    <p:sldLayoutId id="2147483982" r:id="rId2"/>
    <p:sldLayoutId id="2147483983" r:id="rId3"/>
    <p:sldLayoutId id="2147483984" r:id="rId4"/>
    <p:sldLayoutId id="2147483985" r:id="rId5"/>
    <p:sldLayoutId id="2147483986" r:id="rId6"/>
    <p:sldLayoutId id="2147483987" r:id="rId7"/>
    <p:sldLayoutId id="2147483988" r:id="rId8"/>
    <p:sldLayoutId id="2147483989" r:id="rId9"/>
    <p:sldLayoutId id="2147483990" r:id="rId10"/>
    <p:sldLayoutId id="2147483991" r:id="rId11"/>
    <p:sldLayoutId id="2147483992" r:id="rId12"/>
    <p:sldLayoutId id="2147483993" r:id="rId13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txStyles>
    <p:titleStyle>
      <a:lvl1pPr algn="l" defTabSz="914367" rtl="0" eaLnBrk="1" latinLnBrk="0" hangingPunct="1">
        <a:lnSpc>
          <a:spcPct val="90000"/>
        </a:lnSpc>
        <a:spcBef>
          <a:spcPct val="0"/>
        </a:spcBef>
        <a:buNone/>
        <a:defRPr lang="en-US" sz="4800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182880" marR="0" indent="-182880" algn="l" defTabSz="914367" rtl="0" eaLnBrk="1" fontAlgn="auto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SzPct val="90000"/>
        <a:buFont typeface="Arial" pitchFamily="34" charset="0"/>
        <a:buChar char="•"/>
        <a:tabLst/>
        <a:defRPr sz="3200" kern="1200" spc="0" baseline="0">
          <a:solidFill>
            <a:schemeClr val="accent1"/>
          </a:solidFill>
          <a:latin typeface="+mj-lt"/>
          <a:ea typeface="+mn-ea"/>
          <a:cs typeface="+mn-cs"/>
        </a:defRPr>
      </a:lvl1pPr>
      <a:lvl2pPr marL="365760" marR="0" indent="-182880" algn="l" defTabSz="914367" rtl="0" eaLnBrk="1" fontAlgn="auto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SzPct val="90000"/>
        <a:buFont typeface="Arial" pitchFamily="34" charset="0"/>
        <a:buChar char="•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2pPr>
      <a:lvl3pPr marL="548640" marR="0" indent="-182880" algn="l" defTabSz="914367" rtl="0" eaLnBrk="1" fontAlgn="auto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SzPct val="90000"/>
        <a:buFont typeface="Arial" pitchFamily="34" charset="0"/>
        <a:buChar char="•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3pPr>
      <a:lvl4pPr marL="1008435" marR="0" indent="-224097" algn="l" defTabSz="914367" rtl="0" eaLnBrk="1" fontAlgn="auto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32531" marR="0" indent="-224097" algn="l" defTabSz="914367" rtl="0" eaLnBrk="1" fontAlgn="auto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4509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3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877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6061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183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367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55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73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918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3101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20028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7469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2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2" y="1189178"/>
            <a:ext cx="11653521" cy="2052030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9208748" y="2991034"/>
            <a:ext cx="6858623" cy="876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942674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99" r:id="rId1"/>
    <p:sldLayoutId id="2147484000" r:id="rId2"/>
    <p:sldLayoutId id="2147484001" r:id="rId3"/>
    <p:sldLayoutId id="2147484002" r:id="rId4"/>
    <p:sldLayoutId id="2147484003" r:id="rId5"/>
    <p:sldLayoutId id="2147484004" r:id="rId6"/>
    <p:sldLayoutId id="2147484005" r:id="rId7"/>
    <p:sldLayoutId id="2147484006" r:id="rId8"/>
    <p:sldLayoutId id="2147484007" r:id="rId9"/>
    <p:sldLayoutId id="2147484008" r:id="rId10"/>
    <p:sldLayoutId id="2147484010" r:id="rId1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txStyles>
    <p:titleStyle>
      <a:lvl1pPr algn="l" defTabSz="914192" rtl="0" eaLnBrk="1" latinLnBrk="0" hangingPunct="1">
        <a:lnSpc>
          <a:spcPct val="90000"/>
        </a:lnSpc>
        <a:spcBef>
          <a:spcPct val="0"/>
        </a:spcBef>
        <a:buNone/>
        <a:defRPr lang="en-US" sz="4704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36080" marR="0" indent="-336080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92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72581" marR="0" indent="-236500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84187" marR="0" indent="-224054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96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08241" marR="0" indent="-224054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32294" marR="0" indent="-224054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4026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123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219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5315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095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192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287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383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479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2575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199670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6767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png"/><Relationship Id="rId3" Type="http://schemas.openxmlformats.org/officeDocument/2006/relationships/image" Target="NULL"/><Relationship Id="rId7" Type="http://schemas.openxmlformats.org/officeDocument/2006/relationships/image" Target="NULL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35.png"/><Relationship Id="rId5" Type="http://schemas.openxmlformats.org/officeDocument/2006/relationships/image" Target="NULL"/><Relationship Id="rId4" Type="http://schemas.openxmlformats.org/officeDocument/2006/relationships/image" Target="../media/image34.png"/><Relationship Id="rId9" Type="http://schemas.openxmlformats.org/officeDocument/2006/relationships/image" Target="NUL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3" Type="http://schemas.openxmlformats.org/officeDocument/2006/relationships/image" Target="../media/image38.png"/><Relationship Id="rId7" Type="http://schemas.openxmlformats.org/officeDocument/2006/relationships/image" Target="../media/image40.pn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5.svg"/><Relationship Id="rId5" Type="http://schemas.openxmlformats.org/officeDocument/2006/relationships/image" Target="../media/image39.png"/><Relationship Id="rId10" Type="http://schemas.openxmlformats.org/officeDocument/2006/relationships/image" Target="../media/image9.svg"/><Relationship Id="rId4" Type="http://schemas.openxmlformats.org/officeDocument/2006/relationships/image" Target="../media/image3.svg"/><Relationship Id="rId9" Type="http://schemas.openxmlformats.org/officeDocument/2006/relationships/image" Target="../media/image41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45.png"/><Relationship Id="rId5" Type="http://schemas.openxmlformats.org/officeDocument/2006/relationships/image" Target="../media/image32.png"/><Relationship Id="rId4" Type="http://schemas.openxmlformats.org/officeDocument/2006/relationships/image" Target="../media/image44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46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48.png"/><Relationship Id="rId4" Type="http://schemas.openxmlformats.org/officeDocument/2006/relationships/image" Target="../media/image47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49.png"/><Relationship Id="rId5" Type="http://schemas.openxmlformats.org/officeDocument/2006/relationships/image" Target="../media/image32.png"/><Relationship Id="rId4" Type="http://schemas.openxmlformats.org/officeDocument/2006/relationships/image" Target="../media/image44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50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3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3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54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3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3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49.png"/><Relationship Id="rId5" Type="http://schemas.openxmlformats.org/officeDocument/2006/relationships/image" Target="../media/image32.png"/><Relationship Id="rId4" Type="http://schemas.openxmlformats.org/officeDocument/2006/relationships/image" Target="../media/image44.png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3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3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3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59.png"/><Relationship Id="rId1" Type="http://schemas.openxmlformats.org/officeDocument/2006/relationships/slideLayout" Target="../slideLayouts/slideLayout3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60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62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49.png"/><Relationship Id="rId5" Type="http://schemas.openxmlformats.org/officeDocument/2006/relationships/image" Target="../media/image32.png"/><Relationship Id="rId4" Type="http://schemas.openxmlformats.org/officeDocument/2006/relationships/image" Target="../media/image44.pn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63.pn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64.pn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65.pn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49.png"/><Relationship Id="rId5" Type="http://schemas.openxmlformats.org/officeDocument/2006/relationships/image" Target="../media/image32.png"/><Relationship Id="rId4" Type="http://schemas.openxmlformats.org/officeDocument/2006/relationships/image" Target="../media/image44.pn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66.png"/><Relationship Id="rId1" Type="http://schemas.openxmlformats.org/officeDocument/2006/relationships/slideLayout" Target="../slideLayouts/slideLayout10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JP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0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3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0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70.png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3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72.png"/><Relationship Id="rId1" Type="http://schemas.openxmlformats.org/officeDocument/2006/relationships/slideLayout" Target="../slideLayouts/slideLayout3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3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3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74.png"/><Relationship Id="rId1" Type="http://schemas.openxmlformats.org/officeDocument/2006/relationships/slideLayout" Target="../slideLayouts/slideLayout3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3.xml"/></Relationships>
</file>

<file path=ppt/slides/_rels/slide48.xml.rels><?xml version="1.0" encoding="UTF-8" standalone="yes"?>
<Relationships xmlns="http://schemas.openxmlformats.org/package/2006/relationships"><Relationship Id="rId8" Type="http://schemas.openxmlformats.org/officeDocument/2006/relationships/image" Target="../media/image76.jpg"/><Relationship Id="rId3" Type="http://schemas.openxmlformats.org/officeDocument/2006/relationships/hyperlink" Target="http://bit.ly/1ktON16" TargetMode="External"/><Relationship Id="rId7" Type="http://schemas.openxmlformats.org/officeDocument/2006/relationships/hyperlink" Target="https://powerbi.microsoft.com/" TargetMode="External"/><Relationship Id="rId2" Type="http://schemas.openxmlformats.org/officeDocument/2006/relationships/hyperlink" Target="http://tinyurl.com/hj5hdg6" TargetMode="External"/><Relationship Id="rId1" Type="http://schemas.openxmlformats.org/officeDocument/2006/relationships/slideLayout" Target="../slideLayouts/slideLayout9.xml"/><Relationship Id="rId6" Type="http://schemas.openxmlformats.org/officeDocument/2006/relationships/hyperlink" Target="http://bit.ly/1a9Q0gv" TargetMode="External"/><Relationship Id="rId11" Type="http://schemas.openxmlformats.org/officeDocument/2006/relationships/image" Target="../media/image79.png"/><Relationship Id="rId5" Type="http://schemas.openxmlformats.org/officeDocument/2006/relationships/hyperlink" Target="http://bit.ly/1vwbTLG" TargetMode="External"/><Relationship Id="rId10" Type="http://schemas.openxmlformats.org/officeDocument/2006/relationships/image" Target="../media/image78.jpg"/><Relationship Id="rId4" Type="http://schemas.openxmlformats.org/officeDocument/2006/relationships/hyperlink" Target="http://bit.ly/1FF88KA" TargetMode="External"/><Relationship Id="rId9" Type="http://schemas.openxmlformats.org/officeDocument/2006/relationships/image" Target="../media/image77.jpg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0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8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30.png"/><Relationship Id="rId5" Type="http://schemas.openxmlformats.org/officeDocument/2006/relationships/image" Target="../media/image29.png"/><Relationship Id="rId4" Type="http://schemas.openxmlformats.org/officeDocument/2006/relationships/image" Target="../media/image28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3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7258FFF-F925-446B-8502-81C933981705}" type="slidenum">
              <a:rPr lang="en-IN" smtClean="0">
                <a:solidFill>
                  <a:srgbClr val="505050"/>
                </a:solidFill>
              </a:rPr>
              <a:pPr/>
              <a:t>1</a:t>
            </a:fld>
            <a:endParaRPr lang="en-IN">
              <a:solidFill>
                <a:srgbClr val="505050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812" y="14287"/>
            <a:ext cx="12144375" cy="68294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27330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Parallelogram 37"/>
          <p:cNvSpPr/>
          <p:nvPr/>
        </p:nvSpPr>
        <p:spPr>
          <a:xfrm>
            <a:off x="526148" y="1526870"/>
            <a:ext cx="1886855" cy="386143"/>
          </a:xfrm>
          <a:prstGeom prst="parallelogram">
            <a:avLst/>
          </a:prstGeom>
          <a:solidFill>
            <a:srgbClr val="2396E5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100" spc="300" dirty="0">
              <a:solidFill>
                <a:schemeClr val="bg2">
                  <a:lumMod val="25000"/>
                </a:schemeClr>
              </a:solidFill>
              <a:latin typeface="Roboto Medium" panose="02000000000000000000" pitchFamily="2" charset="0"/>
              <a:ea typeface="Roboto Medium" panose="02000000000000000000" pitchFamily="2" charset="0"/>
              <a:cs typeface="Roboto Medium" panose="02000000000000000000" pitchFamily="2" charset="0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1" y="0"/>
            <a:ext cx="101600" cy="606809"/>
          </a:xfrm>
          <a:prstGeom prst="rect">
            <a:avLst/>
          </a:prstGeom>
          <a:solidFill>
            <a:srgbClr val="2396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5" name="TextBox 4"/>
          <p:cNvSpPr txBox="1"/>
          <p:nvPr/>
        </p:nvSpPr>
        <p:spPr>
          <a:xfrm>
            <a:off x="2664289" y="-23975"/>
            <a:ext cx="4455886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3600" dirty="0" smtClean="0">
                <a:solidFill>
                  <a:srgbClr val="FFC000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rPr>
              <a:t>POWERBI INTEGRATIONS</a:t>
            </a:r>
            <a:endParaRPr lang="en-IN" sz="3600" dirty="0">
              <a:solidFill>
                <a:srgbClr val="FFC000"/>
              </a:solidFill>
              <a:latin typeface="Roboto Black" panose="02000000000000000000" pitchFamily="2" charset="0"/>
              <a:ea typeface="Roboto Black" panose="02000000000000000000" pitchFamily="2" charset="0"/>
              <a:cs typeface="Roboto Black" panose="02000000000000000000" pitchFamily="2" charset="0"/>
            </a:endParaRPr>
          </a:p>
        </p:txBody>
      </p:sp>
      <p:sp>
        <p:nvSpPr>
          <p:cNvPr id="24" name="Rectangle: Rounded Corners 23"/>
          <p:cNvSpPr/>
          <p:nvPr/>
        </p:nvSpPr>
        <p:spPr>
          <a:xfrm>
            <a:off x="3643085" y="2394857"/>
            <a:ext cx="1698172" cy="1698172"/>
          </a:xfrm>
          <a:prstGeom prst="roundRect">
            <a:avLst/>
          </a:prstGeom>
          <a:solidFill>
            <a:srgbClr val="00B0F0"/>
          </a:solidFill>
          <a:ln>
            <a:noFill/>
          </a:ln>
          <a:scene3d>
            <a:camera prst="orthographicFront">
              <a:rot lat="19367709" lon="18747105" rev="3634775"/>
            </a:camera>
            <a:lightRig rig="flood" dir="t"/>
          </a:scene3d>
          <a:sp3d extrusionH="254000" prstMaterial="matte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25" name="Rectangle: Rounded Corners 24"/>
          <p:cNvSpPr/>
          <p:nvPr/>
        </p:nvSpPr>
        <p:spPr>
          <a:xfrm>
            <a:off x="5341257" y="1676400"/>
            <a:ext cx="1698172" cy="1698172"/>
          </a:xfrm>
          <a:prstGeom prst="roundRect">
            <a:avLst>
              <a:gd name="adj" fmla="val 37701"/>
            </a:avLst>
          </a:prstGeom>
          <a:solidFill>
            <a:srgbClr val="00B0F0"/>
          </a:solidFill>
          <a:ln>
            <a:noFill/>
          </a:ln>
          <a:scene3d>
            <a:camera prst="orthographicFront">
              <a:rot lat="19367709" lon="18747105" rev="3634775"/>
            </a:camera>
            <a:lightRig rig="flood" dir="t"/>
          </a:scene3d>
          <a:sp3d extrusionH="254000" prstMaterial="matte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26" name="Rectangle: Rounded Corners 25"/>
          <p:cNvSpPr/>
          <p:nvPr/>
        </p:nvSpPr>
        <p:spPr>
          <a:xfrm>
            <a:off x="7039429" y="2394857"/>
            <a:ext cx="1698172" cy="1698172"/>
          </a:xfrm>
          <a:prstGeom prst="roundRect">
            <a:avLst/>
          </a:prstGeom>
          <a:solidFill>
            <a:srgbClr val="00B0F0"/>
          </a:solidFill>
          <a:ln>
            <a:noFill/>
          </a:ln>
          <a:scene3d>
            <a:camera prst="orthographicFront">
              <a:rot lat="19367709" lon="18747105" rev="3634775"/>
            </a:camera>
            <a:lightRig rig="flood" dir="t"/>
          </a:scene3d>
          <a:sp3d extrusionH="254000" prstMaterial="matte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27" name="Rectangle: Rounded Corners 26"/>
          <p:cNvSpPr/>
          <p:nvPr/>
        </p:nvSpPr>
        <p:spPr>
          <a:xfrm>
            <a:off x="5392058" y="3113314"/>
            <a:ext cx="1698172" cy="1698172"/>
          </a:xfrm>
          <a:prstGeom prst="roundRect">
            <a:avLst/>
          </a:prstGeom>
          <a:solidFill>
            <a:srgbClr val="00B0F0"/>
          </a:solidFill>
          <a:ln>
            <a:noFill/>
          </a:ln>
          <a:scene3d>
            <a:camera prst="orthographicFront">
              <a:rot lat="19367709" lon="18747105" rev="3634775"/>
            </a:camera>
            <a:lightRig rig="flood" dir="t"/>
          </a:scene3d>
          <a:sp3d extrusionH="254000" prstMaterial="matte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pic>
        <p:nvPicPr>
          <p:cNvPr id="29" name="Graphic 28" descr="Television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146545" y="2901943"/>
            <a:ext cx="684000" cy="684000"/>
          </a:xfrm>
          <a:prstGeom prst="rect">
            <a:avLst/>
          </a:prstGeom>
          <a:scene3d>
            <a:camera prst="orthographicFront">
              <a:rot lat="19499998" lon="0" rev="0"/>
            </a:camera>
            <a:lightRig rig="threePt" dir="t"/>
          </a:scene3d>
        </p:spPr>
      </p:pic>
      <p:pic>
        <p:nvPicPr>
          <p:cNvPr id="31" name="Graphic 30" descr="Envelope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851973" y="2181372"/>
            <a:ext cx="684000" cy="684000"/>
          </a:xfrm>
          <a:prstGeom prst="rect">
            <a:avLst/>
          </a:prstGeom>
          <a:scene3d>
            <a:camera prst="orthographicFront">
              <a:rot lat="19499998" lon="0" rev="0"/>
            </a:camera>
            <a:lightRig rig="threePt" dir="t"/>
          </a:scene3d>
        </p:spPr>
      </p:pic>
      <p:pic>
        <p:nvPicPr>
          <p:cNvPr id="33" name="Graphic 32" descr="Download from cloud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899144" y="3620400"/>
            <a:ext cx="684000" cy="684000"/>
          </a:xfrm>
          <a:prstGeom prst="rect">
            <a:avLst/>
          </a:prstGeom>
          <a:scene3d>
            <a:camera prst="orthographicFront">
              <a:rot lat="19499998" lon="0" rev="0"/>
            </a:camera>
            <a:lightRig rig="threePt" dir="t"/>
          </a:scene3d>
        </p:spPr>
      </p:pic>
      <p:pic>
        <p:nvPicPr>
          <p:cNvPr id="35" name="Graphic 34" descr="Download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7546515" y="2901943"/>
            <a:ext cx="684000" cy="684000"/>
          </a:xfrm>
          <a:prstGeom prst="rect">
            <a:avLst/>
          </a:prstGeom>
          <a:scene3d>
            <a:camera prst="orthographicFront">
              <a:rot lat="19499998" lon="0" rev="0"/>
            </a:camera>
            <a:lightRig rig="threePt" dir="t"/>
          </a:scene3d>
        </p:spPr>
      </p:pic>
      <p:sp>
        <p:nvSpPr>
          <p:cNvPr id="36" name="Parallelogram 35"/>
          <p:cNvSpPr/>
          <p:nvPr/>
        </p:nvSpPr>
        <p:spPr>
          <a:xfrm>
            <a:off x="457206" y="1454300"/>
            <a:ext cx="1886855" cy="386143"/>
          </a:xfrm>
          <a:prstGeom prst="parallelogram">
            <a:avLst/>
          </a:prstGeom>
          <a:solidFill>
            <a:schemeClr val="bg2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100" spc="300" dirty="0" smtClean="0">
                <a:solidFill>
                  <a:schemeClr val="bg2">
                    <a:lumMod val="25000"/>
                  </a:schemeClr>
                </a:solidFill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CORTANA INTEGRATIONS</a:t>
            </a:r>
            <a:endParaRPr lang="en-IN" sz="1100" spc="300" dirty="0">
              <a:solidFill>
                <a:schemeClr val="bg2">
                  <a:lumMod val="25000"/>
                </a:schemeClr>
              </a:solidFill>
              <a:latin typeface="Roboto Medium" panose="02000000000000000000" pitchFamily="2" charset="0"/>
              <a:ea typeface="Roboto Medium" panose="02000000000000000000" pitchFamily="2" charset="0"/>
              <a:cs typeface="Roboto Medium" panose="02000000000000000000" pitchFamily="2" charset="0"/>
            </a:endParaRPr>
          </a:p>
        </p:txBody>
      </p:sp>
      <p:cxnSp>
        <p:nvCxnSpPr>
          <p:cNvPr id="41" name="Connector: Elbow 40"/>
          <p:cNvCxnSpPr>
            <a:stCxn id="24" idx="1"/>
            <a:endCxn id="38" idx="2"/>
          </p:cNvCxnSpPr>
          <p:nvPr/>
        </p:nvCxnSpPr>
        <p:spPr>
          <a:xfrm rot="10800000">
            <a:off x="2364735" y="1719943"/>
            <a:ext cx="1278350" cy="1524001"/>
          </a:xfrm>
          <a:prstGeom prst="bentConnector3">
            <a:avLst/>
          </a:prstGeom>
          <a:ln>
            <a:solidFill>
              <a:schemeClr val="bg2">
                <a:lumMod val="50000"/>
              </a:schemeClr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Parallelogram 41"/>
          <p:cNvSpPr/>
          <p:nvPr/>
        </p:nvSpPr>
        <p:spPr>
          <a:xfrm>
            <a:off x="2293265" y="5085842"/>
            <a:ext cx="1886855" cy="386143"/>
          </a:xfrm>
          <a:prstGeom prst="parallelogram">
            <a:avLst/>
          </a:prstGeom>
          <a:solidFill>
            <a:srgbClr val="2396E5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100" spc="300" dirty="0">
              <a:solidFill>
                <a:schemeClr val="bg2">
                  <a:lumMod val="25000"/>
                </a:schemeClr>
              </a:solidFill>
              <a:latin typeface="Roboto Medium" panose="02000000000000000000" pitchFamily="2" charset="0"/>
              <a:ea typeface="Roboto Medium" panose="02000000000000000000" pitchFamily="2" charset="0"/>
              <a:cs typeface="Roboto Medium" panose="02000000000000000000" pitchFamily="2" charset="0"/>
            </a:endParaRPr>
          </a:p>
        </p:txBody>
      </p:sp>
      <p:sp>
        <p:nvSpPr>
          <p:cNvPr id="43" name="Parallelogram 42"/>
          <p:cNvSpPr/>
          <p:nvPr/>
        </p:nvSpPr>
        <p:spPr>
          <a:xfrm>
            <a:off x="2224323" y="5013272"/>
            <a:ext cx="1886855" cy="386143"/>
          </a:xfrm>
          <a:prstGeom prst="parallelogram">
            <a:avLst/>
          </a:prstGeom>
          <a:solidFill>
            <a:schemeClr val="bg2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100" spc="300" dirty="0" smtClean="0">
                <a:solidFill>
                  <a:schemeClr val="bg2">
                    <a:lumMod val="25000"/>
                  </a:schemeClr>
                </a:solidFill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ADVANCE ANALYTICS</a:t>
            </a:r>
            <a:endParaRPr lang="en-IN" sz="1100" spc="300" dirty="0">
              <a:solidFill>
                <a:schemeClr val="bg2">
                  <a:lumMod val="25000"/>
                </a:schemeClr>
              </a:solidFill>
              <a:latin typeface="Roboto Medium" panose="02000000000000000000" pitchFamily="2" charset="0"/>
              <a:ea typeface="Roboto Medium" panose="02000000000000000000" pitchFamily="2" charset="0"/>
              <a:cs typeface="Roboto Medium" panose="02000000000000000000" pitchFamily="2" charset="0"/>
            </a:endParaRPr>
          </a:p>
        </p:txBody>
      </p:sp>
      <p:cxnSp>
        <p:nvCxnSpPr>
          <p:cNvPr id="45" name="Connector: Elbow 44"/>
          <p:cNvCxnSpPr>
            <a:cxnSpLocks/>
            <a:stCxn id="27" idx="2"/>
            <a:endCxn id="42" idx="2"/>
          </p:cNvCxnSpPr>
          <p:nvPr/>
        </p:nvCxnSpPr>
        <p:spPr>
          <a:xfrm rot="5400000">
            <a:off x="4952784" y="3990554"/>
            <a:ext cx="467428" cy="2109292"/>
          </a:xfrm>
          <a:prstGeom prst="bentConnector2">
            <a:avLst/>
          </a:prstGeom>
          <a:ln>
            <a:solidFill>
              <a:schemeClr val="bg2">
                <a:lumMod val="50000"/>
              </a:schemeClr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Parallelogram 47"/>
          <p:cNvSpPr/>
          <p:nvPr/>
        </p:nvSpPr>
        <p:spPr>
          <a:xfrm>
            <a:off x="9368979" y="4884056"/>
            <a:ext cx="1886855" cy="386143"/>
          </a:xfrm>
          <a:prstGeom prst="parallelogram">
            <a:avLst/>
          </a:prstGeom>
          <a:solidFill>
            <a:srgbClr val="2396E5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100" spc="300" dirty="0">
              <a:solidFill>
                <a:schemeClr val="bg2">
                  <a:lumMod val="25000"/>
                </a:schemeClr>
              </a:solidFill>
              <a:latin typeface="Roboto Medium" panose="02000000000000000000" pitchFamily="2" charset="0"/>
              <a:ea typeface="Roboto Medium" panose="02000000000000000000" pitchFamily="2" charset="0"/>
              <a:cs typeface="Roboto Medium" panose="02000000000000000000" pitchFamily="2" charset="0"/>
            </a:endParaRPr>
          </a:p>
        </p:txBody>
      </p:sp>
      <p:sp>
        <p:nvSpPr>
          <p:cNvPr id="49" name="Parallelogram 48"/>
          <p:cNvSpPr/>
          <p:nvPr/>
        </p:nvSpPr>
        <p:spPr>
          <a:xfrm>
            <a:off x="9300037" y="4811486"/>
            <a:ext cx="1886855" cy="386143"/>
          </a:xfrm>
          <a:prstGeom prst="parallelogram">
            <a:avLst/>
          </a:prstGeom>
          <a:solidFill>
            <a:schemeClr val="bg2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100" spc="300" dirty="0" smtClean="0">
                <a:solidFill>
                  <a:schemeClr val="bg2">
                    <a:lumMod val="25000"/>
                  </a:schemeClr>
                </a:solidFill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MOBILITY</a:t>
            </a:r>
            <a:endParaRPr lang="en-IN" sz="1100" spc="300" dirty="0">
              <a:solidFill>
                <a:schemeClr val="bg2">
                  <a:lumMod val="25000"/>
                </a:schemeClr>
              </a:solidFill>
              <a:latin typeface="Roboto Medium" panose="02000000000000000000" pitchFamily="2" charset="0"/>
              <a:ea typeface="Roboto Medium" panose="02000000000000000000" pitchFamily="2" charset="0"/>
              <a:cs typeface="Roboto Medium" panose="02000000000000000000" pitchFamily="2" charset="0"/>
            </a:endParaRPr>
          </a:p>
        </p:txBody>
      </p:sp>
      <p:cxnSp>
        <p:nvCxnSpPr>
          <p:cNvPr id="51" name="Connector: Elbow 50"/>
          <p:cNvCxnSpPr>
            <a:cxnSpLocks/>
            <a:stCxn id="26" idx="3"/>
            <a:endCxn id="49" idx="5"/>
          </p:cNvCxnSpPr>
          <p:nvPr/>
        </p:nvCxnSpPr>
        <p:spPr>
          <a:xfrm>
            <a:off x="8737601" y="3243943"/>
            <a:ext cx="610704" cy="1760615"/>
          </a:xfrm>
          <a:prstGeom prst="bentConnector3">
            <a:avLst>
              <a:gd name="adj1" fmla="val 50000"/>
            </a:avLst>
          </a:prstGeom>
          <a:ln>
            <a:solidFill>
              <a:schemeClr val="bg2">
                <a:lumMod val="50000"/>
              </a:schemeClr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Parallelogram 53"/>
          <p:cNvSpPr/>
          <p:nvPr/>
        </p:nvSpPr>
        <p:spPr>
          <a:xfrm>
            <a:off x="7750636" y="961432"/>
            <a:ext cx="1886855" cy="386143"/>
          </a:xfrm>
          <a:prstGeom prst="parallelogram">
            <a:avLst/>
          </a:prstGeom>
          <a:solidFill>
            <a:srgbClr val="2396E5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100" spc="300" dirty="0">
              <a:solidFill>
                <a:schemeClr val="bg2">
                  <a:lumMod val="25000"/>
                </a:schemeClr>
              </a:solidFill>
              <a:latin typeface="Roboto Medium" panose="02000000000000000000" pitchFamily="2" charset="0"/>
              <a:ea typeface="Roboto Medium" panose="02000000000000000000" pitchFamily="2" charset="0"/>
              <a:cs typeface="Roboto Medium" panose="02000000000000000000" pitchFamily="2" charset="0"/>
            </a:endParaRPr>
          </a:p>
        </p:txBody>
      </p:sp>
      <p:sp>
        <p:nvSpPr>
          <p:cNvPr id="55" name="Parallelogram 54"/>
          <p:cNvSpPr/>
          <p:nvPr/>
        </p:nvSpPr>
        <p:spPr>
          <a:xfrm>
            <a:off x="7681694" y="888862"/>
            <a:ext cx="1886855" cy="386143"/>
          </a:xfrm>
          <a:prstGeom prst="parallelogram">
            <a:avLst/>
          </a:prstGeom>
          <a:solidFill>
            <a:schemeClr val="bg2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100" spc="300" dirty="0" smtClean="0">
                <a:solidFill>
                  <a:schemeClr val="bg2">
                    <a:lumMod val="25000"/>
                  </a:schemeClr>
                </a:solidFill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MACHINE LEARNING</a:t>
            </a:r>
            <a:endParaRPr lang="en-IN" sz="1100" spc="300" dirty="0">
              <a:solidFill>
                <a:schemeClr val="bg2">
                  <a:lumMod val="25000"/>
                </a:schemeClr>
              </a:solidFill>
              <a:latin typeface="Roboto Medium" panose="02000000000000000000" pitchFamily="2" charset="0"/>
              <a:ea typeface="Roboto Medium" panose="02000000000000000000" pitchFamily="2" charset="0"/>
              <a:cs typeface="Roboto Medium" panose="02000000000000000000" pitchFamily="2" charset="0"/>
            </a:endParaRPr>
          </a:p>
        </p:txBody>
      </p:sp>
      <p:cxnSp>
        <p:nvCxnSpPr>
          <p:cNvPr id="57" name="Connector: Elbow 56"/>
          <p:cNvCxnSpPr>
            <a:cxnSpLocks/>
            <a:stCxn id="55" idx="5"/>
            <a:endCxn id="25" idx="3"/>
          </p:cNvCxnSpPr>
          <p:nvPr/>
        </p:nvCxnSpPr>
        <p:spPr>
          <a:xfrm rot="10800000" flipV="1">
            <a:off x="7039430" y="1081934"/>
            <a:ext cx="690533" cy="1443552"/>
          </a:xfrm>
          <a:prstGeom prst="bentConnector3">
            <a:avLst>
              <a:gd name="adj1" fmla="val 50000"/>
            </a:avLst>
          </a:prstGeom>
          <a:ln>
            <a:solidFill>
              <a:schemeClr val="bg2">
                <a:lumMod val="50000"/>
              </a:schemeClr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790441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4" grpId="0" animBg="1"/>
      <p:bldP spid="25" grpId="0" animBg="1"/>
      <p:bldP spid="26" grpId="0" animBg="1"/>
      <p:bldP spid="27" grpId="0" animBg="1"/>
      <p:bldP spid="36" grpId="0" animBg="1"/>
      <p:bldP spid="43" grpId="0" animBg="1"/>
      <p:bldP spid="49" grpId="0" animBg="1"/>
      <p:bldP spid="55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>
            <a:extLst>
              <a:ext uri="{FF2B5EF4-FFF2-40B4-BE49-F238E27FC236}">
                <a16:creationId xmlns:a16="http://schemas.microsoft.com/office/drawing/2014/main" id="{2F63B2BD-5C26-48B1-8534-B62A22E84766}"/>
              </a:ext>
            </a:extLst>
          </p:cNvPr>
          <p:cNvGrpSpPr/>
          <p:nvPr/>
        </p:nvGrpSpPr>
        <p:grpSpPr>
          <a:xfrm>
            <a:off x="627223" y="2545098"/>
            <a:ext cx="2261288" cy="2261288"/>
            <a:chOff x="4328982" y="2168610"/>
            <a:chExt cx="2261288" cy="2261288"/>
          </a:xfrm>
        </p:grpSpPr>
        <p:sp>
          <p:nvSpPr>
            <p:cNvPr id="5" name="Circle: Hollow 4">
              <a:extLst>
                <a:ext uri="{FF2B5EF4-FFF2-40B4-BE49-F238E27FC236}">
                  <a16:creationId xmlns:a16="http://schemas.microsoft.com/office/drawing/2014/main" id="{0486C7A0-E744-4FB0-AC3F-12B55B1AFA71}"/>
                </a:ext>
              </a:extLst>
            </p:cNvPr>
            <p:cNvSpPr/>
            <p:nvPr/>
          </p:nvSpPr>
          <p:spPr>
            <a:xfrm>
              <a:off x="4328982" y="2168610"/>
              <a:ext cx="2261288" cy="2261288"/>
            </a:xfrm>
            <a:prstGeom prst="donut">
              <a:avLst>
                <a:gd name="adj" fmla="val 10277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EA858667-7C64-4784-8531-A35D49BCA644}"/>
                </a:ext>
              </a:extLst>
            </p:cNvPr>
            <p:cNvSpPr/>
            <p:nvPr/>
          </p:nvSpPr>
          <p:spPr>
            <a:xfrm>
              <a:off x="4328982" y="3299254"/>
              <a:ext cx="2261288" cy="1130644"/>
            </a:xfrm>
            <a:custGeom>
              <a:avLst/>
              <a:gdLst>
                <a:gd name="connsiteX0" fmla="*/ 0 w 2261288"/>
                <a:gd name="connsiteY0" fmla="*/ 0 h 1130644"/>
                <a:gd name="connsiteX1" fmla="*/ 232393 w 2261288"/>
                <a:gd name="connsiteY1" fmla="*/ 0 h 1130644"/>
                <a:gd name="connsiteX2" fmla="*/ 1130644 w 2261288"/>
                <a:gd name="connsiteY2" fmla="*/ 898251 h 1130644"/>
                <a:gd name="connsiteX3" fmla="*/ 2028895 w 2261288"/>
                <a:gd name="connsiteY3" fmla="*/ 0 h 1130644"/>
                <a:gd name="connsiteX4" fmla="*/ 2261288 w 2261288"/>
                <a:gd name="connsiteY4" fmla="*/ 0 h 1130644"/>
                <a:gd name="connsiteX5" fmla="*/ 1130644 w 2261288"/>
                <a:gd name="connsiteY5" fmla="*/ 1130644 h 1130644"/>
                <a:gd name="connsiteX6" fmla="*/ 0 w 2261288"/>
                <a:gd name="connsiteY6" fmla="*/ 0 h 11306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261288" h="1130644">
                  <a:moveTo>
                    <a:pt x="0" y="0"/>
                  </a:moveTo>
                  <a:lnTo>
                    <a:pt x="232393" y="0"/>
                  </a:lnTo>
                  <a:cubicBezTo>
                    <a:pt x="232393" y="496090"/>
                    <a:pt x="634554" y="898251"/>
                    <a:pt x="1130644" y="898251"/>
                  </a:cubicBezTo>
                  <a:cubicBezTo>
                    <a:pt x="1626734" y="898251"/>
                    <a:pt x="2028895" y="496090"/>
                    <a:pt x="2028895" y="0"/>
                  </a:cubicBezTo>
                  <a:lnTo>
                    <a:pt x="2261288" y="0"/>
                  </a:lnTo>
                  <a:cubicBezTo>
                    <a:pt x="2261288" y="624437"/>
                    <a:pt x="1755081" y="1130644"/>
                    <a:pt x="1130644" y="1130644"/>
                  </a:cubicBezTo>
                  <a:cubicBezTo>
                    <a:pt x="506207" y="1130644"/>
                    <a:pt x="0" y="624437"/>
                    <a:pt x="0" y="0"/>
                  </a:cubicBezTo>
                  <a:close/>
                </a:path>
              </a:pathLst>
            </a:custGeom>
            <a:solidFill>
              <a:srgbClr val="EF307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sp>
        <p:nvSpPr>
          <p:cNvPr id="10" name="Rectangle 9">
            <a:extLst>
              <a:ext uri="{FF2B5EF4-FFF2-40B4-BE49-F238E27FC236}">
                <a16:creationId xmlns:a16="http://schemas.microsoft.com/office/drawing/2014/main" id="{CD5960BF-892D-42D8-AC7D-082B7406782E}"/>
              </a:ext>
            </a:extLst>
          </p:cNvPr>
          <p:cNvSpPr/>
          <p:nvPr/>
        </p:nvSpPr>
        <p:spPr>
          <a:xfrm>
            <a:off x="312126" y="3675742"/>
            <a:ext cx="2891481" cy="134688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CE84551E-BC2E-49C7-9EEA-2B0AAD327905}"/>
              </a:ext>
            </a:extLst>
          </p:cNvPr>
          <p:cNvGrpSpPr/>
          <p:nvPr/>
        </p:nvGrpSpPr>
        <p:grpSpPr>
          <a:xfrm>
            <a:off x="3518704" y="2545098"/>
            <a:ext cx="2261288" cy="2261288"/>
            <a:chOff x="4328982" y="2168610"/>
            <a:chExt cx="2261288" cy="2261288"/>
          </a:xfrm>
        </p:grpSpPr>
        <p:sp>
          <p:nvSpPr>
            <p:cNvPr id="36" name="Circle: Hollow 35">
              <a:extLst>
                <a:ext uri="{FF2B5EF4-FFF2-40B4-BE49-F238E27FC236}">
                  <a16:creationId xmlns:a16="http://schemas.microsoft.com/office/drawing/2014/main" id="{571B9861-6780-4190-8BF7-E04E4A6D4AEC}"/>
                </a:ext>
              </a:extLst>
            </p:cNvPr>
            <p:cNvSpPr/>
            <p:nvPr/>
          </p:nvSpPr>
          <p:spPr>
            <a:xfrm>
              <a:off x="4328982" y="2168610"/>
              <a:ext cx="2261288" cy="2261288"/>
            </a:xfrm>
            <a:prstGeom prst="donut">
              <a:avLst>
                <a:gd name="adj" fmla="val 10277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99E35D6D-C246-42F2-831B-6AA21E351D3B}"/>
                </a:ext>
              </a:extLst>
            </p:cNvPr>
            <p:cNvSpPr/>
            <p:nvPr/>
          </p:nvSpPr>
          <p:spPr>
            <a:xfrm>
              <a:off x="4328982" y="3299254"/>
              <a:ext cx="2261288" cy="1130644"/>
            </a:xfrm>
            <a:custGeom>
              <a:avLst/>
              <a:gdLst>
                <a:gd name="connsiteX0" fmla="*/ 0 w 2261288"/>
                <a:gd name="connsiteY0" fmla="*/ 0 h 1130644"/>
                <a:gd name="connsiteX1" fmla="*/ 232393 w 2261288"/>
                <a:gd name="connsiteY1" fmla="*/ 0 h 1130644"/>
                <a:gd name="connsiteX2" fmla="*/ 1130644 w 2261288"/>
                <a:gd name="connsiteY2" fmla="*/ 898251 h 1130644"/>
                <a:gd name="connsiteX3" fmla="*/ 2028895 w 2261288"/>
                <a:gd name="connsiteY3" fmla="*/ 0 h 1130644"/>
                <a:gd name="connsiteX4" fmla="*/ 2261288 w 2261288"/>
                <a:gd name="connsiteY4" fmla="*/ 0 h 1130644"/>
                <a:gd name="connsiteX5" fmla="*/ 1130644 w 2261288"/>
                <a:gd name="connsiteY5" fmla="*/ 1130644 h 1130644"/>
                <a:gd name="connsiteX6" fmla="*/ 0 w 2261288"/>
                <a:gd name="connsiteY6" fmla="*/ 0 h 11306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261288" h="1130644">
                  <a:moveTo>
                    <a:pt x="0" y="0"/>
                  </a:moveTo>
                  <a:lnTo>
                    <a:pt x="232393" y="0"/>
                  </a:lnTo>
                  <a:cubicBezTo>
                    <a:pt x="232393" y="496090"/>
                    <a:pt x="634554" y="898251"/>
                    <a:pt x="1130644" y="898251"/>
                  </a:cubicBezTo>
                  <a:cubicBezTo>
                    <a:pt x="1626734" y="898251"/>
                    <a:pt x="2028895" y="496090"/>
                    <a:pt x="2028895" y="0"/>
                  </a:cubicBezTo>
                  <a:lnTo>
                    <a:pt x="2261288" y="0"/>
                  </a:lnTo>
                  <a:cubicBezTo>
                    <a:pt x="2261288" y="624437"/>
                    <a:pt x="1755081" y="1130644"/>
                    <a:pt x="1130644" y="1130644"/>
                  </a:cubicBezTo>
                  <a:cubicBezTo>
                    <a:pt x="506207" y="1130644"/>
                    <a:pt x="0" y="624437"/>
                    <a:pt x="0" y="0"/>
                  </a:cubicBezTo>
                  <a:close/>
                </a:path>
              </a:pathLst>
            </a:custGeom>
            <a:solidFill>
              <a:srgbClr val="03A1A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/>
                </a:solidFill>
              </a:endParaRPr>
            </a:p>
          </p:txBody>
        </p:sp>
      </p:grpSp>
      <p:sp>
        <p:nvSpPr>
          <p:cNvPr id="38" name="Rectangle 37">
            <a:extLst>
              <a:ext uri="{FF2B5EF4-FFF2-40B4-BE49-F238E27FC236}">
                <a16:creationId xmlns:a16="http://schemas.microsoft.com/office/drawing/2014/main" id="{63AC2A5B-0A5E-4715-8B35-2D62192EC7A1}"/>
              </a:ext>
            </a:extLst>
          </p:cNvPr>
          <p:cNvSpPr/>
          <p:nvPr/>
        </p:nvSpPr>
        <p:spPr>
          <a:xfrm>
            <a:off x="3203607" y="3675742"/>
            <a:ext cx="2891481" cy="134688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9" name="Group 38">
            <a:extLst>
              <a:ext uri="{FF2B5EF4-FFF2-40B4-BE49-F238E27FC236}">
                <a16:creationId xmlns:a16="http://schemas.microsoft.com/office/drawing/2014/main" id="{7533AFC2-2807-4DDC-9CA1-17DE11BC887F}"/>
              </a:ext>
            </a:extLst>
          </p:cNvPr>
          <p:cNvGrpSpPr/>
          <p:nvPr/>
        </p:nvGrpSpPr>
        <p:grpSpPr>
          <a:xfrm>
            <a:off x="6410185" y="2545098"/>
            <a:ext cx="2261288" cy="2261288"/>
            <a:chOff x="4328982" y="2168610"/>
            <a:chExt cx="2261288" cy="2261288"/>
          </a:xfrm>
        </p:grpSpPr>
        <p:sp>
          <p:nvSpPr>
            <p:cNvPr id="40" name="Circle: Hollow 39">
              <a:extLst>
                <a:ext uri="{FF2B5EF4-FFF2-40B4-BE49-F238E27FC236}">
                  <a16:creationId xmlns:a16="http://schemas.microsoft.com/office/drawing/2014/main" id="{04759003-E273-49BA-A32A-82E7BBE8895A}"/>
                </a:ext>
              </a:extLst>
            </p:cNvPr>
            <p:cNvSpPr/>
            <p:nvPr/>
          </p:nvSpPr>
          <p:spPr>
            <a:xfrm>
              <a:off x="4328982" y="2168610"/>
              <a:ext cx="2261288" cy="2261288"/>
            </a:xfrm>
            <a:prstGeom prst="donut">
              <a:avLst>
                <a:gd name="adj" fmla="val 10277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C51EF82A-DB39-4213-82FC-A74A7B99D007}"/>
                </a:ext>
              </a:extLst>
            </p:cNvPr>
            <p:cNvSpPr/>
            <p:nvPr/>
          </p:nvSpPr>
          <p:spPr>
            <a:xfrm>
              <a:off x="4328982" y="3299254"/>
              <a:ext cx="2261288" cy="1130644"/>
            </a:xfrm>
            <a:custGeom>
              <a:avLst/>
              <a:gdLst>
                <a:gd name="connsiteX0" fmla="*/ 0 w 2261288"/>
                <a:gd name="connsiteY0" fmla="*/ 0 h 1130644"/>
                <a:gd name="connsiteX1" fmla="*/ 232393 w 2261288"/>
                <a:gd name="connsiteY1" fmla="*/ 0 h 1130644"/>
                <a:gd name="connsiteX2" fmla="*/ 1130644 w 2261288"/>
                <a:gd name="connsiteY2" fmla="*/ 898251 h 1130644"/>
                <a:gd name="connsiteX3" fmla="*/ 2028895 w 2261288"/>
                <a:gd name="connsiteY3" fmla="*/ 0 h 1130644"/>
                <a:gd name="connsiteX4" fmla="*/ 2261288 w 2261288"/>
                <a:gd name="connsiteY4" fmla="*/ 0 h 1130644"/>
                <a:gd name="connsiteX5" fmla="*/ 1130644 w 2261288"/>
                <a:gd name="connsiteY5" fmla="*/ 1130644 h 1130644"/>
                <a:gd name="connsiteX6" fmla="*/ 0 w 2261288"/>
                <a:gd name="connsiteY6" fmla="*/ 0 h 11306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261288" h="1130644">
                  <a:moveTo>
                    <a:pt x="0" y="0"/>
                  </a:moveTo>
                  <a:lnTo>
                    <a:pt x="232393" y="0"/>
                  </a:lnTo>
                  <a:cubicBezTo>
                    <a:pt x="232393" y="496090"/>
                    <a:pt x="634554" y="898251"/>
                    <a:pt x="1130644" y="898251"/>
                  </a:cubicBezTo>
                  <a:cubicBezTo>
                    <a:pt x="1626734" y="898251"/>
                    <a:pt x="2028895" y="496090"/>
                    <a:pt x="2028895" y="0"/>
                  </a:cubicBezTo>
                  <a:lnTo>
                    <a:pt x="2261288" y="0"/>
                  </a:lnTo>
                  <a:cubicBezTo>
                    <a:pt x="2261288" y="624437"/>
                    <a:pt x="1755081" y="1130644"/>
                    <a:pt x="1130644" y="1130644"/>
                  </a:cubicBezTo>
                  <a:cubicBezTo>
                    <a:pt x="506207" y="1130644"/>
                    <a:pt x="0" y="624437"/>
                    <a:pt x="0" y="0"/>
                  </a:cubicBezTo>
                  <a:close/>
                </a:path>
              </a:pathLst>
            </a:cu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/>
                </a:solidFill>
              </a:endParaRPr>
            </a:p>
          </p:txBody>
        </p:sp>
      </p:grpSp>
      <p:sp>
        <p:nvSpPr>
          <p:cNvPr id="42" name="Rectangle 41">
            <a:extLst>
              <a:ext uri="{FF2B5EF4-FFF2-40B4-BE49-F238E27FC236}">
                <a16:creationId xmlns:a16="http://schemas.microsoft.com/office/drawing/2014/main" id="{A1000F88-D89A-44DD-A9E2-6AB73B584904}"/>
              </a:ext>
            </a:extLst>
          </p:cNvPr>
          <p:cNvSpPr/>
          <p:nvPr/>
        </p:nvSpPr>
        <p:spPr>
          <a:xfrm>
            <a:off x="6095088" y="3675742"/>
            <a:ext cx="2891481" cy="134688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43" name="Group 42">
            <a:extLst>
              <a:ext uri="{FF2B5EF4-FFF2-40B4-BE49-F238E27FC236}">
                <a16:creationId xmlns:a16="http://schemas.microsoft.com/office/drawing/2014/main" id="{BE704C08-E49D-46CA-9412-F7E86E6F6C7B}"/>
              </a:ext>
            </a:extLst>
          </p:cNvPr>
          <p:cNvGrpSpPr/>
          <p:nvPr/>
        </p:nvGrpSpPr>
        <p:grpSpPr>
          <a:xfrm>
            <a:off x="9301666" y="2545098"/>
            <a:ext cx="2261288" cy="2261288"/>
            <a:chOff x="4328982" y="2168610"/>
            <a:chExt cx="2261288" cy="2261288"/>
          </a:xfrm>
        </p:grpSpPr>
        <p:sp>
          <p:nvSpPr>
            <p:cNvPr id="44" name="Circle: Hollow 43">
              <a:extLst>
                <a:ext uri="{FF2B5EF4-FFF2-40B4-BE49-F238E27FC236}">
                  <a16:creationId xmlns:a16="http://schemas.microsoft.com/office/drawing/2014/main" id="{9FE6D26E-C4C4-49E3-B62F-7F1C26AE2A30}"/>
                </a:ext>
              </a:extLst>
            </p:cNvPr>
            <p:cNvSpPr/>
            <p:nvPr/>
          </p:nvSpPr>
          <p:spPr>
            <a:xfrm>
              <a:off x="4328982" y="2168610"/>
              <a:ext cx="2261288" cy="2261288"/>
            </a:xfrm>
            <a:prstGeom prst="donut">
              <a:avLst>
                <a:gd name="adj" fmla="val 10277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46C48A2B-F611-4097-BFD3-2907673C5EFA}"/>
                </a:ext>
              </a:extLst>
            </p:cNvPr>
            <p:cNvSpPr/>
            <p:nvPr/>
          </p:nvSpPr>
          <p:spPr>
            <a:xfrm>
              <a:off x="4328982" y="3299254"/>
              <a:ext cx="2261288" cy="1130644"/>
            </a:xfrm>
            <a:custGeom>
              <a:avLst/>
              <a:gdLst>
                <a:gd name="connsiteX0" fmla="*/ 0 w 2261288"/>
                <a:gd name="connsiteY0" fmla="*/ 0 h 1130644"/>
                <a:gd name="connsiteX1" fmla="*/ 232393 w 2261288"/>
                <a:gd name="connsiteY1" fmla="*/ 0 h 1130644"/>
                <a:gd name="connsiteX2" fmla="*/ 1130644 w 2261288"/>
                <a:gd name="connsiteY2" fmla="*/ 898251 h 1130644"/>
                <a:gd name="connsiteX3" fmla="*/ 2028895 w 2261288"/>
                <a:gd name="connsiteY3" fmla="*/ 0 h 1130644"/>
                <a:gd name="connsiteX4" fmla="*/ 2261288 w 2261288"/>
                <a:gd name="connsiteY4" fmla="*/ 0 h 1130644"/>
                <a:gd name="connsiteX5" fmla="*/ 1130644 w 2261288"/>
                <a:gd name="connsiteY5" fmla="*/ 1130644 h 1130644"/>
                <a:gd name="connsiteX6" fmla="*/ 0 w 2261288"/>
                <a:gd name="connsiteY6" fmla="*/ 0 h 11306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261288" h="1130644">
                  <a:moveTo>
                    <a:pt x="0" y="0"/>
                  </a:moveTo>
                  <a:lnTo>
                    <a:pt x="232393" y="0"/>
                  </a:lnTo>
                  <a:cubicBezTo>
                    <a:pt x="232393" y="496090"/>
                    <a:pt x="634554" y="898251"/>
                    <a:pt x="1130644" y="898251"/>
                  </a:cubicBezTo>
                  <a:cubicBezTo>
                    <a:pt x="1626734" y="898251"/>
                    <a:pt x="2028895" y="496090"/>
                    <a:pt x="2028895" y="0"/>
                  </a:cubicBezTo>
                  <a:lnTo>
                    <a:pt x="2261288" y="0"/>
                  </a:lnTo>
                  <a:cubicBezTo>
                    <a:pt x="2261288" y="624437"/>
                    <a:pt x="1755081" y="1130644"/>
                    <a:pt x="1130644" y="1130644"/>
                  </a:cubicBezTo>
                  <a:cubicBezTo>
                    <a:pt x="506207" y="1130644"/>
                    <a:pt x="0" y="624437"/>
                    <a:pt x="0" y="0"/>
                  </a:cubicBezTo>
                  <a:close/>
                </a:path>
              </a:pathLst>
            </a:custGeom>
            <a:solidFill>
              <a:srgbClr val="1C7CB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/>
                </a:solidFill>
              </a:endParaRPr>
            </a:p>
          </p:txBody>
        </p:sp>
      </p:grpSp>
      <p:sp>
        <p:nvSpPr>
          <p:cNvPr id="46" name="Rectangle 45">
            <a:extLst>
              <a:ext uri="{FF2B5EF4-FFF2-40B4-BE49-F238E27FC236}">
                <a16:creationId xmlns:a16="http://schemas.microsoft.com/office/drawing/2014/main" id="{248CE02B-E49F-42FF-A637-49AF29F39735}"/>
              </a:ext>
            </a:extLst>
          </p:cNvPr>
          <p:cNvSpPr/>
          <p:nvPr/>
        </p:nvSpPr>
        <p:spPr>
          <a:xfrm>
            <a:off x="8986569" y="3675742"/>
            <a:ext cx="2891481" cy="134688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50" name="Group 49">
            <a:extLst>
              <a:ext uri="{FF2B5EF4-FFF2-40B4-BE49-F238E27FC236}">
                <a16:creationId xmlns:a16="http://schemas.microsoft.com/office/drawing/2014/main" id="{F4D38C6A-AEDB-4399-8DAE-FD2E58CCC368}"/>
              </a:ext>
            </a:extLst>
          </p:cNvPr>
          <p:cNvGrpSpPr/>
          <p:nvPr/>
        </p:nvGrpSpPr>
        <p:grpSpPr>
          <a:xfrm>
            <a:off x="235957" y="3352576"/>
            <a:ext cx="3101876" cy="1384121"/>
            <a:chOff x="206929" y="3105834"/>
            <a:chExt cx="3101876" cy="1384121"/>
          </a:xfrm>
        </p:grpSpPr>
        <p:sp>
          <p:nvSpPr>
            <p:cNvPr id="47" name="TextBox 46">
              <a:extLst>
                <a:ext uri="{FF2B5EF4-FFF2-40B4-BE49-F238E27FC236}">
                  <a16:creationId xmlns:a16="http://schemas.microsoft.com/office/drawing/2014/main" id="{8E9CE130-16B2-45AA-BFB4-FBF2133EE090}"/>
                </a:ext>
              </a:extLst>
            </p:cNvPr>
            <p:cNvSpPr txBox="1"/>
            <p:nvPr/>
          </p:nvSpPr>
          <p:spPr>
            <a:xfrm>
              <a:off x="1152714" y="3105834"/>
              <a:ext cx="1210305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3600" b="1" dirty="0">
                  <a:solidFill>
                    <a:srgbClr val="EF3078"/>
                  </a:solidFill>
                  <a:latin typeface="Tw Cen MT" panose="020B0602020104020603" pitchFamily="34" charset="0"/>
                </a:rPr>
                <a:t>60%</a:t>
              </a:r>
            </a:p>
          </p:txBody>
        </p:sp>
        <p:sp>
          <p:nvSpPr>
            <p:cNvPr id="48" name="TextBox 47">
              <a:extLst>
                <a:ext uri="{FF2B5EF4-FFF2-40B4-BE49-F238E27FC236}">
                  <a16:creationId xmlns:a16="http://schemas.microsoft.com/office/drawing/2014/main" id="{80057FD5-2465-479B-94B2-6CE2CAC6A561}"/>
                </a:ext>
              </a:extLst>
            </p:cNvPr>
            <p:cNvSpPr txBox="1"/>
            <p:nvPr/>
          </p:nvSpPr>
          <p:spPr>
            <a:xfrm>
              <a:off x="206929" y="3655299"/>
              <a:ext cx="3101876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400" b="1" dirty="0" smtClean="0">
                  <a:solidFill>
                    <a:srgbClr val="EF3078"/>
                  </a:solidFill>
                  <a:latin typeface="Tw Cen MT" panose="020B0602020104020603" pitchFamily="34" charset="0"/>
                </a:rPr>
                <a:t>STORY LINE UP</a:t>
              </a:r>
              <a:endParaRPr lang="en-US" sz="2400" b="1" dirty="0">
                <a:solidFill>
                  <a:srgbClr val="EF3078"/>
                </a:solidFill>
                <a:latin typeface="Tw Cen MT" panose="020B0602020104020603" pitchFamily="34" charset="0"/>
              </a:endParaRPr>
            </a:p>
          </p:txBody>
        </p:sp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014CC7CA-C11E-427D-B906-8F40348415E7}"/>
                </a:ext>
              </a:extLst>
            </p:cNvPr>
            <p:cNvSpPr txBox="1"/>
            <p:nvPr/>
          </p:nvSpPr>
          <p:spPr>
            <a:xfrm>
              <a:off x="312125" y="4089845"/>
              <a:ext cx="2891481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000" dirty="0" smtClean="0">
                  <a:solidFill>
                    <a:schemeClr val="bg1">
                      <a:lumMod val="65000"/>
                    </a:schemeClr>
                  </a:solidFill>
                  <a:latin typeface="Tw Cen MT" panose="020B0602020104020603" pitchFamily="34" charset="0"/>
                </a:rPr>
                <a:t>We will work on the story</a:t>
              </a:r>
              <a:endParaRPr lang="en-US" sz="2000" dirty="0">
                <a:solidFill>
                  <a:schemeClr val="bg1">
                    <a:lumMod val="65000"/>
                  </a:schemeClr>
                </a:solidFill>
                <a:latin typeface="Tw Cen MT" panose="020B0602020104020603" pitchFamily="34" charset="0"/>
              </a:endParaRPr>
            </a:p>
          </p:txBody>
        </p:sp>
      </p:grpSp>
      <p:grpSp>
        <p:nvGrpSpPr>
          <p:cNvPr id="55" name="Group 54">
            <a:extLst>
              <a:ext uri="{FF2B5EF4-FFF2-40B4-BE49-F238E27FC236}">
                <a16:creationId xmlns:a16="http://schemas.microsoft.com/office/drawing/2014/main" id="{89E360B5-8292-41BE-BDB5-53A1DA79A0AF}"/>
              </a:ext>
            </a:extLst>
          </p:cNvPr>
          <p:cNvGrpSpPr/>
          <p:nvPr/>
        </p:nvGrpSpPr>
        <p:grpSpPr>
          <a:xfrm>
            <a:off x="3108113" y="3349348"/>
            <a:ext cx="3101876" cy="1691897"/>
            <a:chOff x="206929" y="3105834"/>
            <a:chExt cx="3101876" cy="1691897"/>
          </a:xfrm>
        </p:grpSpPr>
        <p:sp>
          <p:nvSpPr>
            <p:cNvPr id="56" name="TextBox 55">
              <a:extLst>
                <a:ext uri="{FF2B5EF4-FFF2-40B4-BE49-F238E27FC236}">
                  <a16:creationId xmlns:a16="http://schemas.microsoft.com/office/drawing/2014/main" id="{37DEFA01-911E-4472-A366-C89F120808A7}"/>
                </a:ext>
              </a:extLst>
            </p:cNvPr>
            <p:cNvSpPr txBox="1"/>
            <p:nvPr/>
          </p:nvSpPr>
          <p:spPr>
            <a:xfrm>
              <a:off x="1152714" y="3105834"/>
              <a:ext cx="1210305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3600" b="1" dirty="0">
                  <a:solidFill>
                    <a:srgbClr val="03A1A4"/>
                  </a:solidFill>
                  <a:latin typeface="Tw Cen MT" panose="020B0602020104020603" pitchFamily="34" charset="0"/>
                </a:rPr>
                <a:t>70%</a:t>
              </a:r>
            </a:p>
          </p:txBody>
        </p:sp>
        <p:sp>
          <p:nvSpPr>
            <p:cNvPr id="57" name="TextBox 56">
              <a:extLst>
                <a:ext uri="{FF2B5EF4-FFF2-40B4-BE49-F238E27FC236}">
                  <a16:creationId xmlns:a16="http://schemas.microsoft.com/office/drawing/2014/main" id="{AA7E65BB-EF5C-4E32-A442-1715CC6A57A1}"/>
                </a:ext>
              </a:extLst>
            </p:cNvPr>
            <p:cNvSpPr txBox="1"/>
            <p:nvPr/>
          </p:nvSpPr>
          <p:spPr>
            <a:xfrm>
              <a:off x="206929" y="3655299"/>
              <a:ext cx="3101876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400" b="1" dirty="0" smtClean="0">
                  <a:solidFill>
                    <a:srgbClr val="03A1A4"/>
                  </a:solidFill>
                  <a:latin typeface="Tw Cen MT" panose="020B0602020104020603" pitchFamily="34" charset="0"/>
                </a:rPr>
                <a:t>RESOURCES</a:t>
              </a:r>
              <a:endParaRPr lang="en-US" sz="2400" b="1" dirty="0">
                <a:solidFill>
                  <a:srgbClr val="03A1A4"/>
                </a:solidFill>
                <a:latin typeface="Tw Cen MT" panose="020B0602020104020603" pitchFamily="34" charset="0"/>
              </a:endParaRPr>
            </a:p>
          </p:txBody>
        </p:sp>
        <p:sp>
          <p:nvSpPr>
            <p:cNvPr id="58" name="TextBox 57">
              <a:extLst>
                <a:ext uri="{FF2B5EF4-FFF2-40B4-BE49-F238E27FC236}">
                  <a16:creationId xmlns:a16="http://schemas.microsoft.com/office/drawing/2014/main" id="{452BFBE7-0743-48E7-B3B0-63FC8382764F}"/>
                </a:ext>
              </a:extLst>
            </p:cNvPr>
            <p:cNvSpPr txBox="1"/>
            <p:nvPr/>
          </p:nvSpPr>
          <p:spPr>
            <a:xfrm>
              <a:off x="312125" y="4089845"/>
              <a:ext cx="2891481" cy="7078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000" dirty="0" smtClean="0">
                  <a:solidFill>
                    <a:schemeClr val="bg1">
                      <a:lumMod val="65000"/>
                    </a:schemeClr>
                  </a:solidFill>
                  <a:latin typeface="Tw Cen MT" panose="020B0602020104020603" pitchFamily="34" charset="0"/>
                </a:rPr>
                <a:t>Proper resources on our story</a:t>
              </a:r>
              <a:endParaRPr lang="en-US" sz="2000" dirty="0">
                <a:solidFill>
                  <a:schemeClr val="bg1">
                    <a:lumMod val="65000"/>
                  </a:schemeClr>
                </a:solidFill>
                <a:latin typeface="Tw Cen MT" panose="020B0602020104020603" pitchFamily="34" charset="0"/>
              </a:endParaRPr>
            </a:p>
          </p:txBody>
        </p:sp>
      </p:grpSp>
      <p:grpSp>
        <p:nvGrpSpPr>
          <p:cNvPr id="59" name="Group 58">
            <a:extLst>
              <a:ext uri="{FF2B5EF4-FFF2-40B4-BE49-F238E27FC236}">
                <a16:creationId xmlns:a16="http://schemas.microsoft.com/office/drawing/2014/main" id="{AB0E18D2-53B9-4C40-9BE9-82530575679A}"/>
              </a:ext>
            </a:extLst>
          </p:cNvPr>
          <p:cNvGrpSpPr/>
          <p:nvPr/>
        </p:nvGrpSpPr>
        <p:grpSpPr>
          <a:xfrm>
            <a:off x="5999592" y="3346120"/>
            <a:ext cx="3101876" cy="1384121"/>
            <a:chOff x="206929" y="3105834"/>
            <a:chExt cx="3101876" cy="1384121"/>
          </a:xfrm>
        </p:grpSpPr>
        <p:sp>
          <p:nvSpPr>
            <p:cNvPr id="60" name="TextBox 59">
              <a:extLst>
                <a:ext uri="{FF2B5EF4-FFF2-40B4-BE49-F238E27FC236}">
                  <a16:creationId xmlns:a16="http://schemas.microsoft.com/office/drawing/2014/main" id="{BA41381F-6F5B-4F8B-898B-ED5A3AA05972}"/>
                </a:ext>
              </a:extLst>
            </p:cNvPr>
            <p:cNvSpPr txBox="1"/>
            <p:nvPr/>
          </p:nvSpPr>
          <p:spPr>
            <a:xfrm>
              <a:off x="1152714" y="3105834"/>
              <a:ext cx="1210305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3600" b="1" dirty="0">
                  <a:solidFill>
                    <a:srgbClr val="92D050"/>
                  </a:solidFill>
                  <a:latin typeface="Tw Cen MT" panose="020B0602020104020603" pitchFamily="34" charset="0"/>
                </a:rPr>
                <a:t>50%</a:t>
              </a:r>
            </a:p>
          </p:txBody>
        </p:sp>
        <p:sp>
          <p:nvSpPr>
            <p:cNvPr id="61" name="TextBox 60">
              <a:extLst>
                <a:ext uri="{FF2B5EF4-FFF2-40B4-BE49-F238E27FC236}">
                  <a16:creationId xmlns:a16="http://schemas.microsoft.com/office/drawing/2014/main" id="{BFC5E847-67A9-4F55-AE9C-04B8F2FEBABD}"/>
                </a:ext>
              </a:extLst>
            </p:cNvPr>
            <p:cNvSpPr txBox="1"/>
            <p:nvPr/>
          </p:nvSpPr>
          <p:spPr>
            <a:xfrm>
              <a:off x="206929" y="3655299"/>
              <a:ext cx="3101876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400" b="1" dirty="0" smtClean="0">
                  <a:solidFill>
                    <a:srgbClr val="92D050"/>
                  </a:solidFill>
                  <a:latin typeface="Tw Cen MT" panose="020B0602020104020603" pitchFamily="34" charset="0"/>
                </a:rPr>
                <a:t>GET DATA</a:t>
              </a:r>
              <a:endParaRPr lang="en-US" sz="2400" b="1" dirty="0">
                <a:solidFill>
                  <a:srgbClr val="92D050"/>
                </a:solidFill>
                <a:latin typeface="Tw Cen MT" panose="020B0602020104020603" pitchFamily="34" charset="0"/>
              </a:endParaRPr>
            </a:p>
          </p:txBody>
        </p:sp>
        <p:sp>
          <p:nvSpPr>
            <p:cNvPr id="62" name="TextBox 61">
              <a:extLst>
                <a:ext uri="{FF2B5EF4-FFF2-40B4-BE49-F238E27FC236}">
                  <a16:creationId xmlns:a16="http://schemas.microsoft.com/office/drawing/2014/main" id="{4253AA84-B15E-4BE2-B36A-165D237760BA}"/>
                </a:ext>
              </a:extLst>
            </p:cNvPr>
            <p:cNvSpPr txBox="1"/>
            <p:nvPr/>
          </p:nvSpPr>
          <p:spPr>
            <a:xfrm>
              <a:off x="312125" y="4089845"/>
              <a:ext cx="2891481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000" dirty="0" smtClean="0">
                  <a:solidFill>
                    <a:schemeClr val="bg1">
                      <a:lumMod val="65000"/>
                    </a:schemeClr>
                  </a:solidFill>
                  <a:latin typeface="Tw Cen MT" panose="020B0602020104020603" pitchFamily="34" charset="0"/>
                </a:rPr>
                <a:t>Work with Data</a:t>
              </a:r>
              <a:endParaRPr lang="en-US" sz="2000" dirty="0">
                <a:solidFill>
                  <a:schemeClr val="bg1">
                    <a:lumMod val="65000"/>
                  </a:schemeClr>
                </a:solidFill>
                <a:latin typeface="Tw Cen MT" panose="020B0602020104020603" pitchFamily="34" charset="0"/>
              </a:endParaRPr>
            </a:p>
          </p:txBody>
        </p:sp>
      </p:grpSp>
      <p:grpSp>
        <p:nvGrpSpPr>
          <p:cNvPr id="63" name="Group 62">
            <a:extLst>
              <a:ext uri="{FF2B5EF4-FFF2-40B4-BE49-F238E27FC236}">
                <a16:creationId xmlns:a16="http://schemas.microsoft.com/office/drawing/2014/main" id="{AB468267-F418-4D50-B21D-D96EA3D7DB88}"/>
              </a:ext>
            </a:extLst>
          </p:cNvPr>
          <p:cNvGrpSpPr/>
          <p:nvPr/>
        </p:nvGrpSpPr>
        <p:grpSpPr>
          <a:xfrm>
            <a:off x="8910399" y="3342892"/>
            <a:ext cx="3101876" cy="1384121"/>
            <a:chOff x="206929" y="3105834"/>
            <a:chExt cx="3101876" cy="1384121"/>
          </a:xfrm>
        </p:grpSpPr>
        <p:sp>
          <p:nvSpPr>
            <p:cNvPr id="64" name="TextBox 63">
              <a:extLst>
                <a:ext uri="{FF2B5EF4-FFF2-40B4-BE49-F238E27FC236}">
                  <a16:creationId xmlns:a16="http://schemas.microsoft.com/office/drawing/2014/main" id="{D18A03CC-C9C5-4839-B8E2-5EAA2EBC28F1}"/>
                </a:ext>
              </a:extLst>
            </p:cNvPr>
            <p:cNvSpPr txBox="1"/>
            <p:nvPr/>
          </p:nvSpPr>
          <p:spPr>
            <a:xfrm>
              <a:off x="1152714" y="3105834"/>
              <a:ext cx="1210305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3600" b="1" dirty="0">
                  <a:solidFill>
                    <a:srgbClr val="1C7CBB"/>
                  </a:solidFill>
                  <a:latin typeface="Tw Cen MT" panose="020B0602020104020603" pitchFamily="34" charset="0"/>
                </a:rPr>
                <a:t>90%</a:t>
              </a:r>
            </a:p>
          </p:txBody>
        </p:sp>
        <p:sp>
          <p:nvSpPr>
            <p:cNvPr id="65" name="TextBox 64">
              <a:extLst>
                <a:ext uri="{FF2B5EF4-FFF2-40B4-BE49-F238E27FC236}">
                  <a16:creationId xmlns:a16="http://schemas.microsoft.com/office/drawing/2014/main" id="{256D2719-0175-465B-BA7B-04986D9920A3}"/>
                </a:ext>
              </a:extLst>
            </p:cNvPr>
            <p:cNvSpPr txBox="1"/>
            <p:nvPr/>
          </p:nvSpPr>
          <p:spPr>
            <a:xfrm>
              <a:off x="206929" y="3655299"/>
              <a:ext cx="3101876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400" b="1" dirty="0" smtClean="0">
                  <a:solidFill>
                    <a:srgbClr val="1C7CBB"/>
                  </a:solidFill>
                  <a:latin typeface="Tw Cen MT" panose="020B0602020104020603" pitchFamily="34" charset="0"/>
                </a:rPr>
                <a:t>DETECTING REALTION</a:t>
              </a:r>
              <a:endParaRPr lang="en-US" sz="2400" b="1" dirty="0">
                <a:solidFill>
                  <a:srgbClr val="1C7CBB"/>
                </a:solidFill>
                <a:latin typeface="Tw Cen MT" panose="020B0602020104020603" pitchFamily="34" charset="0"/>
              </a:endParaRPr>
            </a:p>
          </p:txBody>
        </p:sp>
        <p:sp>
          <p:nvSpPr>
            <p:cNvPr id="66" name="TextBox 65">
              <a:extLst>
                <a:ext uri="{FF2B5EF4-FFF2-40B4-BE49-F238E27FC236}">
                  <a16:creationId xmlns:a16="http://schemas.microsoft.com/office/drawing/2014/main" id="{E78FE0E2-5EDC-4AF4-AD66-18715B3FAB8D}"/>
                </a:ext>
              </a:extLst>
            </p:cNvPr>
            <p:cNvSpPr txBox="1"/>
            <p:nvPr/>
          </p:nvSpPr>
          <p:spPr>
            <a:xfrm>
              <a:off x="312125" y="4089845"/>
              <a:ext cx="2891481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000" dirty="0" smtClean="0">
                  <a:solidFill>
                    <a:schemeClr val="bg1">
                      <a:lumMod val="65000"/>
                    </a:schemeClr>
                  </a:solidFill>
                  <a:latin typeface="Tw Cen MT" panose="020B0602020104020603" pitchFamily="34" charset="0"/>
                </a:rPr>
                <a:t>Data Modelling</a:t>
              </a:r>
              <a:endParaRPr lang="en-US" sz="2000" dirty="0">
                <a:solidFill>
                  <a:schemeClr val="bg1">
                    <a:lumMod val="65000"/>
                  </a:schemeClr>
                </a:solidFill>
                <a:latin typeface="Tw Cen MT" panose="020B0602020104020603" pitchFamily="34" charset="0"/>
              </a:endParaRPr>
            </a:p>
          </p:txBody>
        </p:sp>
      </p:grpSp>
      <p:sp>
        <p:nvSpPr>
          <p:cNvPr id="67" name="TextBox 66">
            <a:extLst>
              <a:ext uri="{FF2B5EF4-FFF2-40B4-BE49-F238E27FC236}">
                <a16:creationId xmlns:a16="http://schemas.microsoft.com/office/drawing/2014/main" id="{3E4EE401-8D87-46A5-A52A-02631870FD63}"/>
              </a:ext>
            </a:extLst>
          </p:cNvPr>
          <p:cNvSpPr txBox="1"/>
          <p:nvPr/>
        </p:nvSpPr>
        <p:spPr>
          <a:xfrm>
            <a:off x="2456543" y="262438"/>
            <a:ext cx="727891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000" b="1" dirty="0" smtClean="0">
                <a:solidFill>
                  <a:schemeClr val="bg1">
                    <a:lumMod val="65000"/>
                  </a:schemeClr>
                </a:solidFill>
                <a:latin typeface="Tw Cen MT" panose="020B0602020104020603" pitchFamily="34" charset="0"/>
              </a:rPr>
              <a:t>POWER BI-1</a:t>
            </a:r>
            <a:endParaRPr lang="en-US" sz="4000" b="1" dirty="0">
              <a:solidFill>
                <a:schemeClr val="bg1">
                  <a:lumMod val="65000"/>
                </a:schemeClr>
              </a:solidFill>
              <a:latin typeface="Tw Cen MT" panose="020B0602020104020603" pitchFamily="34" charset="0"/>
            </a:endParaRP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D0413E2C-08DB-4F49-A6B9-24021E5B67A7}"/>
              </a:ext>
            </a:extLst>
          </p:cNvPr>
          <p:cNvSpPr txBox="1"/>
          <p:nvPr/>
        </p:nvSpPr>
        <p:spPr>
          <a:xfrm>
            <a:off x="2192559" y="920975"/>
            <a:ext cx="780505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 smtClean="0">
                <a:solidFill>
                  <a:schemeClr val="bg1">
                    <a:lumMod val="65000"/>
                  </a:schemeClr>
                </a:solidFill>
                <a:latin typeface="Tw Cen MT" panose="020B0602020104020603" pitchFamily="34" charset="0"/>
              </a:rPr>
              <a:t>WHAT WILL YOU LEARN WITH THIS SESSIONS</a:t>
            </a:r>
            <a:endParaRPr lang="en-US" sz="1600" dirty="0">
              <a:solidFill>
                <a:schemeClr val="bg1">
                  <a:lumMod val="65000"/>
                </a:schemeClr>
              </a:solidFill>
              <a:latin typeface="Tw Cen MT" panose="020B06020201040206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564144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8" presetClass="emph" presetSubtype="0" decel="10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Rot by="7200000">
                                      <p:cBhvr>
                                        <p:cTn id="6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1000"/>
                            </p:stCondLst>
                            <p:childTnLst>
                              <p:par>
                                <p:cTn id="8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" dur="25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25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2" dur="25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1250"/>
                            </p:stCondLst>
                            <p:childTnLst>
                              <p:par>
                                <p:cTn id="14" presetID="8" presetClass="emph" presetSubtype="0" decel="100000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animRot by="9000000">
                                      <p:cBhvr>
                                        <p:cTn id="15" dur="10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2500"/>
                            </p:stCondLst>
                            <p:childTnLst>
                              <p:par>
                                <p:cTn id="17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" dur="25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25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1" dur="25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2750"/>
                            </p:stCondLst>
                            <p:childTnLst>
                              <p:par>
                                <p:cTn id="23" presetID="8" presetClass="emph" presetSubtype="0" decel="100000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animRot by="5400000">
                                      <p:cBhvr>
                                        <p:cTn id="24" dur="10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4000"/>
                            </p:stCondLst>
                            <p:childTnLst>
                              <p:par>
                                <p:cTn id="26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8" dur="25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25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0" dur="25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4250"/>
                            </p:stCondLst>
                            <p:childTnLst>
                              <p:par>
                                <p:cTn id="32" presetID="8" presetClass="emph" presetSubtype="0" decel="100000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animRot by="9600000">
                                      <p:cBhvr>
                                        <p:cTn id="33" dur="10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5500"/>
                            </p:stCondLst>
                            <p:childTnLst>
                              <p:par>
                                <p:cTn id="35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7" dur="250" fill="hold"/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250" fill="hold"/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9" dur="25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>
            <a:extLst>
              <a:ext uri="{FF2B5EF4-FFF2-40B4-BE49-F238E27FC236}">
                <a16:creationId xmlns:a16="http://schemas.microsoft.com/office/drawing/2014/main" id="{2F63B2BD-5C26-48B1-8534-B62A22E84766}"/>
              </a:ext>
            </a:extLst>
          </p:cNvPr>
          <p:cNvGrpSpPr/>
          <p:nvPr/>
        </p:nvGrpSpPr>
        <p:grpSpPr>
          <a:xfrm>
            <a:off x="627223" y="2545098"/>
            <a:ext cx="2261288" cy="2261288"/>
            <a:chOff x="4328982" y="2168610"/>
            <a:chExt cx="2261288" cy="2261288"/>
          </a:xfrm>
        </p:grpSpPr>
        <p:sp>
          <p:nvSpPr>
            <p:cNvPr id="5" name="Circle: Hollow 4">
              <a:extLst>
                <a:ext uri="{FF2B5EF4-FFF2-40B4-BE49-F238E27FC236}">
                  <a16:creationId xmlns:a16="http://schemas.microsoft.com/office/drawing/2014/main" id="{0486C7A0-E744-4FB0-AC3F-12B55B1AFA71}"/>
                </a:ext>
              </a:extLst>
            </p:cNvPr>
            <p:cNvSpPr/>
            <p:nvPr/>
          </p:nvSpPr>
          <p:spPr>
            <a:xfrm>
              <a:off x="4328982" y="2168610"/>
              <a:ext cx="2261288" cy="2261288"/>
            </a:xfrm>
            <a:prstGeom prst="donut">
              <a:avLst>
                <a:gd name="adj" fmla="val 10277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EA858667-7C64-4784-8531-A35D49BCA644}"/>
                </a:ext>
              </a:extLst>
            </p:cNvPr>
            <p:cNvSpPr/>
            <p:nvPr/>
          </p:nvSpPr>
          <p:spPr>
            <a:xfrm>
              <a:off x="4328982" y="3299254"/>
              <a:ext cx="2261288" cy="1130644"/>
            </a:xfrm>
            <a:custGeom>
              <a:avLst/>
              <a:gdLst>
                <a:gd name="connsiteX0" fmla="*/ 0 w 2261288"/>
                <a:gd name="connsiteY0" fmla="*/ 0 h 1130644"/>
                <a:gd name="connsiteX1" fmla="*/ 232393 w 2261288"/>
                <a:gd name="connsiteY1" fmla="*/ 0 h 1130644"/>
                <a:gd name="connsiteX2" fmla="*/ 1130644 w 2261288"/>
                <a:gd name="connsiteY2" fmla="*/ 898251 h 1130644"/>
                <a:gd name="connsiteX3" fmla="*/ 2028895 w 2261288"/>
                <a:gd name="connsiteY3" fmla="*/ 0 h 1130644"/>
                <a:gd name="connsiteX4" fmla="*/ 2261288 w 2261288"/>
                <a:gd name="connsiteY4" fmla="*/ 0 h 1130644"/>
                <a:gd name="connsiteX5" fmla="*/ 1130644 w 2261288"/>
                <a:gd name="connsiteY5" fmla="*/ 1130644 h 1130644"/>
                <a:gd name="connsiteX6" fmla="*/ 0 w 2261288"/>
                <a:gd name="connsiteY6" fmla="*/ 0 h 11306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261288" h="1130644">
                  <a:moveTo>
                    <a:pt x="0" y="0"/>
                  </a:moveTo>
                  <a:lnTo>
                    <a:pt x="232393" y="0"/>
                  </a:lnTo>
                  <a:cubicBezTo>
                    <a:pt x="232393" y="496090"/>
                    <a:pt x="634554" y="898251"/>
                    <a:pt x="1130644" y="898251"/>
                  </a:cubicBezTo>
                  <a:cubicBezTo>
                    <a:pt x="1626734" y="898251"/>
                    <a:pt x="2028895" y="496090"/>
                    <a:pt x="2028895" y="0"/>
                  </a:cubicBezTo>
                  <a:lnTo>
                    <a:pt x="2261288" y="0"/>
                  </a:lnTo>
                  <a:cubicBezTo>
                    <a:pt x="2261288" y="624437"/>
                    <a:pt x="1755081" y="1130644"/>
                    <a:pt x="1130644" y="1130644"/>
                  </a:cubicBezTo>
                  <a:cubicBezTo>
                    <a:pt x="506207" y="1130644"/>
                    <a:pt x="0" y="624437"/>
                    <a:pt x="0" y="0"/>
                  </a:cubicBezTo>
                  <a:close/>
                </a:path>
              </a:pathLst>
            </a:custGeom>
            <a:solidFill>
              <a:srgbClr val="EF307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sp>
        <p:nvSpPr>
          <p:cNvPr id="10" name="Rectangle 9">
            <a:extLst>
              <a:ext uri="{FF2B5EF4-FFF2-40B4-BE49-F238E27FC236}">
                <a16:creationId xmlns:a16="http://schemas.microsoft.com/office/drawing/2014/main" id="{CD5960BF-892D-42D8-AC7D-082B7406782E}"/>
              </a:ext>
            </a:extLst>
          </p:cNvPr>
          <p:cNvSpPr/>
          <p:nvPr/>
        </p:nvSpPr>
        <p:spPr>
          <a:xfrm>
            <a:off x="312126" y="3675742"/>
            <a:ext cx="2891481" cy="134688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CE84551E-BC2E-49C7-9EEA-2B0AAD327905}"/>
              </a:ext>
            </a:extLst>
          </p:cNvPr>
          <p:cNvGrpSpPr/>
          <p:nvPr/>
        </p:nvGrpSpPr>
        <p:grpSpPr>
          <a:xfrm>
            <a:off x="3518704" y="2545098"/>
            <a:ext cx="2261288" cy="2261288"/>
            <a:chOff x="4328982" y="2168610"/>
            <a:chExt cx="2261288" cy="2261288"/>
          </a:xfrm>
        </p:grpSpPr>
        <p:sp>
          <p:nvSpPr>
            <p:cNvPr id="36" name="Circle: Hollow 35">
              <a:extLst>
                <a:ext uri="{FF2B5EF4-FFF2-40B4-BE49-F238E27FC236}">
                  <a16:creationId xmlns:a16="http://schemas.microsoft.com/office/drawing/2014/main" id="{571B9861-6780-4190-8BF7-E04E4A6D4AEC}"/>
                </a:ext>
              </a:extLst>
            </p:cNvPr>
            <p:cNvSpPr/>
            <p:nvPr/>
          </p:nvSpPr>
          <p:spPr>
            <a:xfrm>
              <a:off x="4328982" y="2168610"/>
              <a:ext cx="2261288" cy="2261288"/>
            </a:xfrm>
            <a:prstGeom prst="donut">
              <a:avLst>
                <a:gd name="adj" fmla="val 10277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99E35D6D-C246-42F2-831B-6AA21E351D3B}"/>
                </a:ext>
              </a:extLst>
            </p:cNvPr>
            <p:cNvSpPr/>
            <p:nvPr/>
          </p:nvSpPr>
          <p:spPr>
            <a:xfrm>
              <a:off x="4328982" y="3299254"/>
              <a:ext cx="2261288" cy="1130644"/>
            </a:xfrm>
            <a:custGeom>
              <a:avLst/>
              <a:gdLst>
                <a:gd name="connsiteX0" fmla="*/ 0 w 2261288"/>
                <a:gd name="connsiteY0" fmla="*/ 0 h 1130644"/>
                <a:gd name="connsiteX1" fmla="*/ 232393 w 2261288"/>
                <a:gd name="connsiteY1" fmla="*/ 0 h 1130644"/>
                <a:gd name="connsiteX2" fmla="*/ 1130644 w 2261288"/>
                <a:gd name="connsiteY2" fmla="*/ 898251 h 1130644"/>
                <a:gd name="connsiteX3" fmla="*/ 2028895 w 2261288"/>
                <a:gd name="connsiteY3" fmla="*/ 0 h 1130644"/>
                <a:gd name="connsiteX4" fmla="*/ 2261288 w 2261288"/>
                <a:gd name="connsiteY4" fmla="*/ 0 h 1130644"/>
                <a:gd name="connsiteX5" fmla="*/ 1130644 w 2261288"/>
                <a:gd name="connsiteY5" fmla="*/ 1130644 h 1130644"/>
                <a:gd name="connsiteX6" fmla="*/ 0 w 2261288"/>
                <a:gd name="connsiteY6" fmla="*/ 0 h 11306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261288" h="1130644">
                  <a:moveTo>
                    <a:pt x="0" y="0"/>
                  </a:moveTo>
                  <a:lnTo>
                    <a:pt x="232393" y="0"/>
                  </a:lnTo>
                  <a:cubicBezTo>
                    <a:pt x="232393" y="496090"/>
                    <a:pt x="634554" y="898251"/>
                    <a:pt x="1130644" y="898251"/>
                  </a:cubicBezTo>
                  <a:cubicBezTo>
                    <a:pt x="1626734" y="898251"/>
                    <a:pt x="2028895" y="496090"/>
                    <a:pt x="2028895" y="0"/>
                  </a:cubicBezTo>
                  <a:lnTo>
                    <a:pt x="2261288" y="0"/>
                  </a:lnTo>
                  <a:cubicBezTo>
                    <a:pt x="2261288" y="624437"/>
                    <a:pt x="1755081" y="1130644"/>
                    <a:pt x="1130644" y="1130644"/>
                  </a:cubicBezTo>
                  <a:cubicBezTo>
                    <a:pt x="506207" y="1130644"/>
                    <a:pt x="0" y="624437"/>
                    <a:pt x="0" y="0"/>
                  </a:cubicBezTo>
                  <a:close/>
                </a:path>
              </a:pathLst>
            </a:custGeom>
            <a:solidFill>
              <a:srgbClr val="03A1A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/>
                </a:solidFill>
              </a:endParaRPr>
            </a:p>
          </p:txBody>
        </p:sp>
      </p:grpSp>
      <p:sp>
        <p:nvSpPr>
          <p:cNvPr id="38" name="Rectangle 37">
            <a:extLst>
              <a:ext uri="{FF2B5EF4-FFF2-40B4-BE49-F238E27FC236}">
                <a16:creationId xmlns:a16="http://schemas.microsoft.com/office/drawing/2014/main" id="{63AC2A5B-0A5E-4715-8B35-2D62192EC7A1}"/>
              </a:ext>
            </a:extLst>
          </p:cNvPr>
          <p:cNvSpPr/>
          <p:nvPr/>
        </p:nvSpPr>
        <p:spPr>
          <a:xfrm>
            <a:off x="3203607" y="3675742"/>
            <a:ext cx="2891481" cy="134688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9" name="Group 38">
            <a:extLst>
              <a:ext uri="{FF2B5EF4-FFF2-40B4-BE49-F238E27FC236}">
                <a16:creationId xmlns:a16="http://schemas.microsoft.com/office/drawing/2014/main" id="{7533AFC2-2807-4DDC-9CA1-17DE11BC887F}"/>
              </a:ext>
            </a:extLst>
          </p:cNvPr>
          <p:cNvGrpSpPr/>
          <p:nvPr/>
        </p:nvGrpSpPr>
        <p:grpSpPr>
          <a:xfrm>
            <a:off x="6410185" y="2545098"/>
            <a:ext cx="2261288" cy="2261288"/>
            <a:chOff x="4328982" y="2168610"/>
            <a:chExt cx="2261288" cy="2261288"/>
          </a:xfrm>
        </p:grpSpPr>
        <p:sp>
          <p:nvSpPr>
            <p:cNvPr id="40" name="Circle: Hollow 39">
              <a:extLst>
                <a:ext uri="{FF2B5EF4-FFF2-40B4-BE49-F238E27FC236}">
                  <a16:creationId xmlns:a16="http://schemas.microsoft.com/office/drawing/2014/main" id="{04759003-E273-49BA-A32A-82E7BBE8895A}"/>
                </a:ext>
              </a:extLst>
            </p:cNvPr>
            <p:cNvSpPr/>
            <p:nvPr/>
          </p:nvSpPr>
          <p:spPr>
            <a:xfrm>
              <a:off x="4328982" y="2168610"/>
              <a:ext cx="2261288" cy="2261288"/>
            </a:xfrm>
            <a:prstGeom prst="donut">
              <a:avLst>
                <a:gd name="adj" fmla="val 10277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C51EF82A-DB39-4213-82FC-A74A7B99D007}"/>
                </a:ext>
              </a:extLst>
            </p:cNvPr>
            <p:cNvSpPr/>
            <p:nvPr/>
          </p:nvSpPr>
          <p:spPr>
            <a:xfrm>
              <a:off x="4328982" y="3299254"/>
              <a:ext cx="2261288" cy="1130644"/>
            </a:xfrm>
            <a:custGeom>
              <a:avLst/>
              <a:gdLst>
                <a:gd name="connsiteX0" fmla="*/ 0 w 2261288"/>
                <a:gd name="connsiteY0" fmla="*/ 0 h 1130644"/>
                <a:gd name="connsiteX1" fmla="*/ 232393 w 2261288"/>
                <a:gd name="connsiteY1" fmla="*/ 0 h 1130644"/>
                <a:gd name="connsiteX2" fmla="*/ 1130644 w 2261288"/>
                <a:gd name="connsiteY2" fmla="*/ 898251 h 1130644"/>
                <a:gd name="connsiteX3" fmla="*/ 2028895 w 2261288"/>
                <a:gd name="connsiteY3" fmla="*/ 0 h 1130644"/>
                <a:gd name="connsiteX4" fmla="*/ 2261288 w 2261288"/>
                <a:gd name="connsiteY4" fmla="*/ 0 h 1130644"/>
                <a:gd name="connsiteX5" fmla="*/ 1130644 w 2261288"/>
                <a:gd name="connsiteY5" fmla="*/ 1130644 h 1130644"/>
                <a:gd name="connsiteX6" fmla="*/ 0 w 2261288"/>
                <a:gd name="connsiteY6" fmla="*/ 0 h 11306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261288" h="1130644">
                  <a:moveTo>
                    <a:pt x="0" y="0"/>
                  </a:moveTo>
                  <a:lnTo>
                    <a:pt x="232393" y="0"/>
                  </a:lnTo>
                  <a:cubicBezTo>
                    <a:pt x="232393" y="496090"/>
                    <a:pt x="634554" y="898251"/>
                    <a:pt x="1130644" y="898251"/>
                  </a:cubicBezTo>
                  <a:cubicBezTo>
                    <a:pt x="1626734" y="898251"/>
                    <a:pt x="2028895" y="496090"/>
                    <a:pt x="2028895" y="0"/>
                  </a:cubicBezTo>
                  <a:lnTo>
                    <a:pt x="2261288" y="0"/>
                  </a:lnTo>
                  <a:cubicBezTo>
                    <a:pt x="2261288" y="624437"/>
                    <a:pt x="1755081" y="1130644"/>
                    <a:pt x="1130644" y="1130644"/>
                  </a:cubicBezTo>
                  <a:cubicBezTo>
                    <a:pt x="506207" y="1130644"/>
                    <a:pt x="0" y="624437"/>
                    <a:pt x="0" y="0"/>
                  </a:cubicBezTo>
                  <a:close/>
                </a:path>
              </a:pathLst>
            </a:cu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/>
                </a:solidFill>
              </a:endParaRPr>
            </a:p>
          </p:txBody>
        </p:sp>
      </p:grpSp>
      <p:sp>
        <p:nvSpPr>
          <p:cNvPr id="42" name="Rectangle 41">
            <a:extLst>
              <a:ext uri="{FF2B5EF4-FFF2-40B4-BE49-F238E27FC236}">
                <a16:creationId xmlns:a16="http://schemas.microsoft.com/office/drawing/2014/main" id="{A1000F88-D89A-44DD-A9E2-6AB73B584904}"/>
              </a:ext>
            </a:extLst>
          </p:cNvPr>
          <p:cNvSpPr/>
          <p:nvPr/>
        </p:nvSpPr>
        <p:spPr>
          <a:xfrm>
            <a:off x="6095088" y="3675742"/>
            <a:ext cx="2891481" cy="134688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43" name="Group 42">
            <a:extLst>
              <a:ext uri="{FF2B5EF4-FFF2-40B4-BE49-F238E27FC236}">
                <a16:creationId xmlns:a16="http://schemas.microsoft.com/office/drawing/2014/main" id="{BE704C08-E49D-46CA-9412-F7E86E6F6C7B}"/>
              </a:ext>
            </a:extLst>
          </p:cNvPr>
          <p:cNvGrpSpPr/>
          <p:nvPr/>
        </p:nvGrpSpPr>
        <p:grpSpPr>
          <a:xfrm>
            <a:off x="9301666" y="2545098"/>
            <a:ext cx="2261288" cy="2261288"/>
            <a:chOff x="4328982" y="2168610"/>
            <a:chExt cx="2261288" cy="2261288"/>
          </a:xfrm>
        </p:grpSpPr>
        <p:sp>
          <p:nvSpPr>
            <p:cNvPr id="44" name="Circle: Hollow 43">
              <a:extLst>
                <a:ext uri="{FF2B5EF4-FFF2-40B4-BE49-F238E27FC236}">
                  <a16:creationId xmlns:a16="http://schemas.microsoft.com/office/drawing/2014/main" id="{9FE6D26E-C4C4-49E3-B62F-7F1C26AE2A30}"/>
                </a:ext>
              </a:extLst>
            </p:cNvPr>
            <p:cNvSpPr/>
            <p:nvPr/>
          </p:nvSpPr>
          <p:spPr>
            <a:xfrm>
              <a:off x="4328982" y="2168610"/>
              <a:ext cx="2261288" cy="2261288"/>
            </a:xfrm>
            <a:prstGeom prst="donut">
              <a:avLst>
                <a:gd name="adj" fmla="val 10277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46C48A2B-F611-4097-BFD3-2907673C5EFA}"/>
                </a:ext>
              </a:extLst>
            </p:cNvPr>
            <p:cNvSpPr/>
            <p:nvPr/>
          </p:nvSpPr>
          <p:spPr>
            <a:xfrm>
              <a:off x="4328982" y="3299254"/>
              <a:ext cx="2261288" cy="1130644"/>
            </a:xfrm>
            <a:custGeom>
              <a:avLst/>
              <a:gdLst>
                <a:gd name="connsiteX0" fmla="*/ 0 w 2261288"/>
                <a:gd name="connsiteY0" fmla="*/ 0 h 1130644"/>
                <a:gd name="connsiteX1" fmla="*/ 232393 w 2261288"/>
                <a:gd name="connsiteY1" fmla="*/ 0 h 1130644"/>
                <a:gd name="connsiteX2" fmla="*/ 1130644 w 2261288"/>
                <a:gd name="connsiteY2" fmla="*/ 898251 h 1130644"/>
                <a:gd name="connsiteX3" fmla="*/ 2028895 w 2261288"/>
                <a:gd name="connsiteY3" fmla="*/ 0 h 1130644"/>
                <a:gd name="connsiteX4" fmla="*/ 2261288 w 2261288"/>
                <a:gd name="connsiteY4" fmla="*/ 0 h 1130644"/>
                <a:gd name="connsiteX5" fmla="*/ 1130644 w 2261288"/>
                <a:gd name="connsiteY5" fmla="*/ 1130644 h 1130644"/>
                <a:gd name="connsiteX6" fmla="*/ 0 w 2261288"/>
                <a:gd name="connsiteY6" fmla="*/ 0 h 11306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261288" h="1130644">
                  <a:moveTo>
                    <a:pt x="0" y="0"/>
                  </a:moveTo>
                  <a:lnTo>
                    <a:pt x="232393" y="0"/>
                  </a:lnTo>
                  <a:cubicBezTo>
                    <a:pt x="232393" y="496090"/>
                    <a:pt x="634554" y="898251"/>
                    <a:pt x="1130644" y="898251"/>
                  </a:cubicBezTo>
                  <a:cubicBezTo>
                    <a:pt x="1626734" y="898251"/>
                    <a:pt x="2028895" y="496090"/>
                    <a:pt x="2028895" y="0"/>
                  </a:cubicBezTo>
                  <a:lnTo>
                    <a:pt x="2261288" y="0"/>
                  </a:lnTo>
                  <a:cubicBezTo>
                    <a:pt x="2261288" y="624437"/>
                    <a:pt x="1755081" y="1130644"/>
                    <a:pt x="1130644" y="1130644"/>
                  </a:cubicBezTo>
                  <a:cubicBezTo>
                    <a:pt x="506207" y="1130644"/>
                    <a:pt x="0" y="624437"/>
                    <a:pt x="0" y="0"/>
                  </a:cubicBezTo>
                  <a:close/>
                </a:path>
              </a:pathLst>
            </a:custGeom>
            <a:solidFill>
              <a:srgbClr val="1C7CB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/>
                </a:solidFill>
              </a:endParaRPr>
            </a:p>
          </p:txBody>
        </p:sp>
      </p:grpSp>
      <p:sp>
        <p:nvSpPr>
          <p:cNvPr id="46" name="Rectangle 45">
            <a:extLst>
              <a:ext uri="{FF2B5EF4-FFF2-40B4-BE49-F238E27FC236}">
                <a16:creationId xmlns:a16="http://schemas.microsoft.com/office/drawing/2014/main" id="{248CE02B-E49F-42FF-A637-49AF29F39735}"/>
              </a:ext>
            </a:extLst>
          </p:cNvPr>
          <p:cNvSpPr/>
          <p:nvPr/>
        </p:nvSpPr>
        <p:spPr>
          <a:xfrm>
            <a:off x="8986569" y="3675742"/>
            <a:ext cx="2891481" cy="134688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50" name="Group 49">
            <a:extLst>
              <a:ext uri="{FF2B5EF4-FFF2-40B4-BE49-F238E27FC236}">
                <a16:creationId xmlns:a16="http://schemas.microsoft.com/office/drawing/2014/main" id="{F4D38C6A-AEDB-4399-8DAE-FD2E58CCC368}"/>
              </a:ext>
            </a:extLst>
          </p:cNvPr>
          <p:cNvGrpSpPr/>
          <p:nvPr/>
        </p:nvGrpSpPr>
        <p:grpSpPr>
          <a:xfrm>
            <a:off x="192415" y="3352576"/>
            <a:ext cx="3101876" cy="1815008"/>
            <a:chOff x="206929" y="3105834"/>
            <a:chExt cx="3101876" cy="1815008"/>
          </a:xfrm>
        </p:grpSpPr>
        <p:sp>
          <p:nvSpPr>
            <p:cNvPr id="47" name="TextBox 46">
              <a:extLst>
                <a:ext uri="{FF2B5EF4-FFF2-40B4-BE49-F238E27FC236}">
                  <a16:creationId xmlns:a16="http://schemas.microsoft.com/office/drawing/2014/main" id="{8E9CE130-16B2-45AA-BFB4-FBF2133EE090}"/>
                </a:ext>
              </a:extLst>
            </p:cNvPr>
            <p:cNvSpPr txBox="1"/>
            <p:nvPr/>
          </p:nvSpPr>
          <p:spPr>
            <a:xfrm>
              <a:off x="1152714" y="3105834"/>
              <a:ext cx="1210305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3600" b="1" dirty="0">
                  <a:solidFill>
                    <a:srgbClr val="EF3078"/>
                  </a:solidFill>
                  <a:latin typeface="Tw Cen MT" panose="020B0602020104020603" pitchFamily="34" charset="0"/>
                </a:rPr>
                <a:t>60%</a:t>
              </a:r>
            </a:p>
          </p:txBody>
        </p:sp>
        <p:sp>
          <p:nvSpPr>
            <p:cNvPr id="48" name="TextBox 47">
              <a:extLst>
                <a:ext uri="{FF2B5EF4-FFF2-40B4-BE49-F238E27FC236}">
                  <a16:creationId xmlns:a16="http://schemas.microsoft.com/office/drawing/2014/main" id="{80057FD5-2465-479B-94B2-6CE2CAC6A561}"/>
                </a:ext>
              </a:extLst>
            </p:cNvPr>
            <p:cNvSpPr txBox="1"/>
            <p:nvPr/>
          </p:nvSpPr>
          <p:spPr>
            <a:xfrm>
              <a:off x="206929" y="3655299"/>
              <a:ext cx="3101876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400" b="1" dirty="0" smtClean="0">
                  <a:solidFill>
                    <a:srgbClr val="EF3078"/>
                  </a:solidFill>
                  <a:latin typeface="Tw Cen MT" panose="020B0602020104020603" pitchFamily="34" charset="0"/>
                </a:rPr>
                <a:t>APPLYING DAX</a:t>
              </a:r>
              <a:endParaRPr lang="en-US" sz="2400" b="1" dirty="0">
                <a:solidFill>
                  <a:srgbClr val="EF3078"/>
                </a:solidFill>
                <a:latin typeface="Tw Cen MT" panose="020B0602020104020603" pitchFamily="34" charset="0"/>
              </a:endParaRPr>
            </a:p>
          </p:txBody>
        </p:sp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014CC7CA-C11E-427D-B906-8F40348415E7}"/>
                </a:ext>
              </a:extLst>
            </p:cNvPr>
            <p:cNvSpPr txBox="1"/>
            <p:nvPr/>
          </p:nvSpPr>
          <p:spPr>
            <a:xfrm>
              <a:off x="312125" y="4089845"/>
              <a:ext cx="2891481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400" dirty="0" smtClean="0">
                  <a:solidFill>
                    <a:schemeClr val="bg1">
                      <a:lumMod val="65000"/>
                    </a:schemeClr>
                  </a:solidFill>
                  <a:latin typeface="Tw Cen MT" panose="020B0602020104020603" pitchFamily="34" charset="0"/>
                </a:rPr>
                <a:t>Calculated Column</a:t>
              </a:r>
            </a:p>
            <a:p>
              <a:pPr algn="ctr"/>
              <a:r>
                <a:rPr lang="en-US" sz="2400" dirty="0" smtClean="0">
                  <a:solidFill>
                    <a:schemeClr val="bg1">
                      <a:lumMod val="65000"/>
                    </a:schemeClr>
                  </a:solidFill>
                  <a:latin typeface="Tw Cen MT" panose="020B0602020104020603" pitchFamily="34" charset="0"/>
                </a:rPr>
                <a:t>Measures</a:t>
              </a:r>
              <a:endParaRPr lang="en-US" sz="2400" dirty="0">
                <a:solidFill>
                  <a:schemeClr val="bg1">
                    <a:lumMod val="65000"/>
                  </a:schemeClr>
                </a:solidFill>
                <a:latin typeface="Tw Cen MT" panose="020B0602020104020603" pitchFamily="34" charset="0"/>
              </a:endParaRPr>
            </a:p>
          </p:txBody>
        </p:sp>
      </p:grpSp>
      <p:grpSp>
        <p:nvGrpSpPr>
          <p:cNvPr id="55" name="Group 54">
            <a:extLst>
              <a:ext uri="{FF2B5EF4-FFF2-40B4-BE49-F238E27FC236}">
                <a16:creationId xmlns:a16="http://schemas.microsoft.com/office/drawing/2014/main" id="{89E360B5-8292-41BE-BDB5-53A1DA79A0AF}"/>
              </a:ext>
            </a:extLst>
          </p:cNvPr>
          <p:cNvGrpSpPr/>
          <p:nvPr/>
        </p:nvGrpSpPr>
        <p:grpSpPr>
          <a:xfrm>
            <a:off x="3147868" y="3349348"/>
            <a:ext cx="3101876" cy="1815008"/>
            <a:chOff x="206929" y="3105834"/>
            <a:chExt cx="3101876" cy="1815008"/>
          </a:xfrm>
        </p:grpSpPr>
        <p:sp>
          <p:nvSpPr>
            <p:cNvPr id="56" name="TextBox 55">
              <a:extLst>
                <a:ext uri="{FF2B5EF4-FFF2-40B4-BE49-F238E27FC236}">
                  <a16:creationId xmlns:a16="http://schemas.microsoft.com/office/drawing/2014/main" id="{37DEFA01-911E-4472-A366-C89F120808A7}"/>
                </a:ext>
              </a:extLst>
            </p:cNvPr>
            <p:cNvSpPr txBox="1"/>
            <p:nvPr/>
          </p:nvSpPr>
          <p:spPr>
            <a:xfrm>
              <a:off x="1152714" y="3105834"/>
              <a:ext cx="1210305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3600" b="1" dirty="0">
                  <a:solidFill>
                    <a:srgbClr val="03A1A4"/>
                  </a:solidFill>
                  <a:latin typeface="Tw Cen MT" panose="020B0602020104020603" pitchFamily="34" charset="0"/>
                </a:rPr>
                <a:t>70%</a:t>
              </a:r>
            </a:p>
          </p:txBody>
        </p:sp>
        <p:sp>
          <p:nvSpPr>
            <p:cNvPr id="57" name="TextBox 56">
              <a:extLst>
                <a:ext uri="{FF2B5EF4-FFF2-40B4-BE49-F238E27FC236}">
                  <a16:creationId xmlns:a16="http://schemas.microsoft.com/office/drawing/2014/main" id="{AA7E65BB-EF5C-4E32-A442-1715CC6A57A1}"/>
                </a:ext>
              </a:extLst>
            </p:cNvPr>
            <p:cNvSpPr txBox="1"/>
            <p:nvPr/>
          </p:nvSpPr>
          <p:spPr>
            <a:xfrm>
              <a:off x="206929" y="3655299"/>
              <a:ext cx="3101876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400" b="1" dirty="0" smtClean="0">
                  <a:solidFill>
                    <a:srgbClr val="03A1A4"/>
                  </a:solidFill>
                  <a:latin typeface="Tw Cen MT" panose="020B0602020104020603" pitchFamily="34" charset="0"/>
                </a:rPr>
                <a:t>M</a:t>
              </a:r>
              <a:endParaRPr lang="en-US" sz="2400" b="1" dirty="0">
                <a:solidFill>
                  <a:srgbClr val="03A1A4"/>
                </a:solidFill>
                <a:latin typeface="Tw Cen MT" panose="020B0602020104020603" pitchFamily="34" charset="0"/>
              </a:endParaRPr>
            </a:p>
          </p:txBody>
        </p:sp>
        <p:sp>
          <p:nvSpPr>
            <p:cNvPr id="58" name="TextBox 57">
              <a:extLst>
                <a:ext uri="{FF2B5EF4-FFF2-40B4-BE49-F238E27FC236}">
                  <a16:creationId xmlns:a16="http://schemas.microsoft.com/office/drawing/2014/main" id="{452BFBE7-0743-48E7-B3B0-63FC8382764F}"/>
                </a:ext>
              </a:extLst>
            </p:cNvPr>
            <p:cNvSpPr txBox="1"/>
            <p:nvPr/>
          </p:nvSpPr>
          <p:spPr>
            <a:xfrm>
              <a:off x="312125" y="4089845"/>
              <a:ext cx="2891481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400" dirty="0" smtClean="0">
                  <a:solidFill>
                    <a:schemeClr val="bg1">
                      <a:lumMod val="65000"/>
                    </a:schemeClr>
                  </a:solidFill>
                  <a:latin typeface="Tw Cen MT" panose="020B0602020104020603" pitchFamily="34" charset="0"/>
                </a:rPr>
                <a:t>Working With Power Query</a:t>
              </a:r>
              <a:endParaRPr lang="en-US" sz="2400" dirty="0">
                <a:solidFill>
                  <a:schemeClr val="bg1">
                    <a:lumMod val="65000"/>
                  </a:schemeClr>
                </a:solidFill>
                <a:latin typeface="Tw Cen MT" panose="020B0602020104020603" pitchFamily="34" charset="0"/>
              </a:endParaRPr>
            </a:p>
          </p:txBody>
        </p:sp>
      </p:grpSp>
      <p:grpSp>
        <p:nvGrpSpPr>
          <p:cNvPr id="59" name="Group 58">
            <a:extLst>
              <a:ext uri="{FF2B5EF4-FFF2-40B4-BE49-F238E27FC236}">
                <a16:creationId xmlns:a16="http://schemas.microsoft.com/office/drawing/2014/main" id="{AB0E18D2-53B9-4C40-9BE9-82530575679A}"/>
              </a:ext>
            </a:extLst>
          </p:cNvPr>
          <p:cNvGrpSpPr/>
          <p:nvPr/>
        </p:nvGrpSpPr>
        <p:grpSpPr>
          <a:xfrm>
            <a:off x="6038855" y="3346120"/>
            <a:ext cx="3101876" cy="1507231"/>
            <a:chOff x="206929" y="3105834"/>
            <a:chExt cx="3101876" cy="1507231"/>
          </a:xfrm>
        </p:grpSpPr>
        <p:sp>
          <p:nvSpPr>
            <p:cNvPr id="60" name="TextBox 59">
              <a:extLst>
                <a:ext uri="{FF2B5EF4-FFF2-40B4-BE49-F238E27FC236}">
                  <a16:creationId xmlns:a16="http://schemas.microsoft.com/office/drawing/2014/main" id="{BA41381F-6F5B-4F8B-898B-ED5A3AA05972}"/>
                </a:ext>
              </a:extLst>
            </p:cNvPr>
            <p:cNvSpPr txBox="1"/>
            <p:nvPr/>
          </p:nvSpPr>
          <p:spPr>
            <a:xfrm>
              <a:off x="1152714" y="3105834"/>
              <a:ext cx="1210305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3600" b="1" dirty="0">
                  <a:solidFill>
                    <a:srgbClr val="92D050"/>
                  </a:solidFill>
                  <a:latin typeface="Tw Cen MT" panose="020B0602020104020603" pitchFamily="34" charset="0"/>
                </a:rPr>
                <a:t>50%</a:t>
              </a:r>
            </a:p>
          </p:txBody>
        </p:sp>
        <p:sp>
          <p:nvSpPr>
            <p:cNvPr id="61" name="TextBox 60">
              <a:extLst>
                <a:ext uri="{FF2B5EF4-FFF2-40B4-BE49-F238E27FC236}">
                  <a16:creationId xmlns:a16="http://schemas.microsoft.com/office/drawing/2014/main" id="{BFC5E847-67A9-4F55-AE9C-04B8F2FEBABD}"/>
                </a:ext>
              </a:extLst>
            </p:cNvPr>
            <p:cNvSpPr txBox="1"/>
            <p:nvPr/>
          </p:nvSpPr>
          <p:spPr>
            <a:xfrm>
              <a:off x="206929" y="3655299"/>
              <a:ext cx="3101876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400" b="1" dirty="0" smtClean="0">
                  <a:solidFill>
                    <a:srgbClr val="92D050"/>
                  </a:solidFill>
                  <a:latin typeface="Tw Cen MT" panose="020B0602020104020603" pitchFamily="34" charset="0"/>
                </a:rPr>
                <a:t>VISUALISATION</a:t>
              </a:r>
              <a:endParaRPr lang="en-US" sz="2400" b="1" dirty="0">
                <a:solidFill>
                  <a:srgbClr val="92D050"/>
                </a:solidFill>
                <a:latin typeface="Tw Cen MT" panose="020B0602020104020603" pitchFamily="34" charset="0"/>
              </a:endParaRPr>
            </a:p>
          </p:txBody>
        </p:sp>
        <p:sp>
          <p:nvSpPr>
            <p:cNvPr id="62" name="TextBox 61">
              <a:extLst>
                <a:ext uri="{FF2B5EF4-FFF2-40B4-BE49-F238E27FC236}">
                  <a16:creationId xmlns:a16="http://schemas.microsoft.com/office/drawing/2014/main" id="{4253AA84-B15E-4BE2-B36A-165D237760BA}"/>
                </a:ext>
              </a:extLst>
            </p:cNvPr>
            <p:cNvSpPr txBox="1"/>
            <p:nvPr/>
          </p:nvSpPr>
          <p:spPr>
            <a:xfrm>
              <a:off x="312125" y="4089845"/>
              <a:ext cx="2891481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800" dirty="0" err="1" smtClean="0">
                  <a:solidFill>
                    <a:schemeClr val="bg1">
                      <a:lumMod val="65000"/>
                    </a:schemeClr>
                  </a:solidFill>
                  <a:latin typeface="Tw Cen MT" panose="020B0602020104020603" pitchFamily="34" charset="0"/>
                </a:rPr>
                <a:t>Visualise</a:t>
              </a:r>
              <a:endParaRPr lang="en-US" sz="2000" dirty="0">
                <a:solidFill>
                  <a:schemeClr val="bg1">
                    <a:lumMod val="65000"/>
                  </a:schemeClr>
                </a:solidFill>
                <a:latin typeface="Tw Cen MT" panose="020B0602020104020603" pitchFamily="34" charset="0"/>
              </a:endParaRPr>
            </a:p>
          </p:txBody>
        </p:sp>
      </p:grpSp>
      <p:grpSp>
        <p:nvGrpSpPr>
          <p:cNvPr id="63" name="Group 62">
            <a:extLst>
              <a:ext uri="{FF2B5EF4-FFF2-40B4-BE49-F238E27FC236}">
                <a16:creationId xmlns:a16="http://schemas.microsoft.com/office/drawing/2014/main" id="{AB468267-F418-4D50-B21D-D96EA3D7DB88}"/>
              </a:ext>
            </a:extLst>
          </p:cNvPr>
          <p:cNvGrpSpPr/>
          <p:nvPr/>
        </p:nvGrpSpPr>
        <p:grpSpPr>
          <a:xfrm>
            <a:off x="8971561" y="3342892"/>
            <a:ext cx="3101876" cy="1815008"/>
            <a:chOff x="206929" y="3105834"/>
            <a:chExt cx="3101876" cy="1815008"/>
          </a:xfrm>
        </p:grpSpPr>
        <p:sp>
          <p:nvSpPr>
            <p:cNvPr id="64" name="TextBox 63">
              <a:extLst>
                <a:ext uri="{FF2B5EF4-FFF2-40B4-BE49-F238E27FC236}">
                  <a16:creationId xmlns:a16="http://schemas.microsoft.com/office/drawing/2014/main" id="{D18A03CC-C9C5-4839-B8E2-5EAA2EBC28F1}"/>
                </a:ext>
              </a:extLst>
            </p:cNvPr>
            <p:cNvSpPr txBox="1"/>
            <p:nvPr/>
          </p:nvSpPr>
          <p:spPr>
            <a:xfrm>
              <a:off x="1152714" y="3105834"/>
              <a:ext cx="1210305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3600" b="1" dirty="0">
                  <a:solidFill>
                    <a:srgbClr val="1C7CBB"/>
                  </a:solidFill>
                  <a:latin typeface="Tw Cen MT" panose="020B0602020104020603" pitchFamily="34" charset="0"/>
                </a:rPr>
                <a:t>90%</a:t>
              </a:r>
            </a:p>
          </p:txBody>
        </p:sp>
        <p:sp>
          <p:nvSpPr>
            <p:cNvPr id="65" name="TextBox 64">
              <a:extLst>
                <a:ext uri="{FF2B5EF4-FFF2-40B4-BE49-F238E27FC236}">
                  <a16:creationId xmlns:a16="http://schemas.microsoft.com/office/drawing/2014/main" id="{256D2719-0175-465B-BA7B-04986D9920A3}"/>
                </a:ext>
              </a:extLst>
            </p:cNvPr>
            <p:cNvSpPr txBox="1"/>
            <p:nvPr/>
          </p:nvSpPr>
          <p:spPr>
            <a:xfrm>
              <a:off x="206929" y="3655299"/>
              <a:ext cx="3101876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400" b="1" dirty="0" smtClean="0">
                  <a:solidFill>
                    <a:srgbClr val="1C7CBB"/>
                  </a:solidFill>
                  <a:latin typeface="Tw Cen MT" panose="020B0602020104020603" pitchFamily="34" charset="0"/>
                </a:rPr>
                <a:t>REPORTING</a:t>
              </a:r>
              <a:endParaRPr lang="en-US" sz="2400" b="1" dirty="0">
                <a:solidFill>
                  <a:srgbClr val="1C7CBB"/>
                </a:solidFill>
                <a:latin typeface="Tw Cen MT" panose="020B0602020104020603" pitchFamily="34" charset="0"/>
              </a:endParaRPr>
            </a:p>
          </p:txBody>
        </p:sp>
        <p:sp>
          <p:nvSpPr>
            <p:cNvPr id="66" name="TextBox 65">
              <a:extLst>
                <a:ext uri="{FF2B5EF4-FFF2-40B4-BE49-F238E27FC236}">
                  <a16:creationId xmlns:a16="http://schemas.microsoft.com/office/drawing/2014/main" id="{E78FE0E2-5EDC-4AF4-AD66-18715B3FAB8D}"/>
                </a:ext>
              </a:extLst>
            </p:cNvPr>
            <p:cNvSpPr txBox="1"/>
            <p:nvPr/>
          </p:nvSpPr>
          <p:spPr>
            <a:xfrm>
              <a:off x="312125" y="4089845"/>
              <a:ext cx="2891481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400" dirty="0" smtClean="0">
                  <a:solidFill>
                    <a:schemeClr val="bg1">
                      <a:lumMod val="65000"/>
                    </a:schemeClr>
                  </a:solidFill>
                  <a:latin typeface="Tw Cen MT" panose="020B0602020104020603" pitchFamily="34" charset="0"/>
                </a:rPr>
                <a:t>Power Bi Reporting And Sharing</a:t>
              </a:r>
              <a:endParaRPr lang="en-US" sz="2400" dirty="0">
                <a:solidFill>
                  <a:schemeClr val="bg1">
                    <a:lumMod val="65000"/>
                  </a:schemeClr>
                </a:solidFill>
                <a:latin typeface="Tw Cen MT" panose="020B0602020104020603" pitchFamily="34" charset="0"/>
              </a:endParaRPr>
            </a:p>
          </p:txBody>
        </p:sp>
      </p:grpSp>
      <p:sp>
        <p:nvSpPr>
          <p:cNvPr id="51" name="TextBox 50">
            <a:extLst>
              <a:ext uri="{FF2B5EF4-FFF2-40B4-BE49-F238E27FC236}">
                <a16:creationId xmlns:a16="http://schemas.microsoft.com/office/drawing/2014/main" id="{3E4EE401-8D87-46A5-A52A-02631870FD63}"/>
              </a:ext>
            </a:extLst>
          </p:cNvPr>
          <p:cNvSpPr txBox="1"/>
          <p:nvPr/>
        </p:nvSpPr>
        <p:spPr>
          <a:xfrm>
            <a:off x="2456543" y="262438"/>
            <a:ext cx="727891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000" b="1" dirty="0" smtClean="0">
                <a:solidFill>
                  <a:schemeClr val="bg1">
                    <a:lumMod val="65000"/>
                  </a:schemeClr>
                </a:solidFill>
                <a:latin typeface="Tw Cen MT" panose="020B0602020104020603" pitchFamily="34" charset="0"/>
              </a:rPr>
              <a:t>POWER BI-2</a:t>
            </a:r>
            <a:endParaRPr lang="en-US" sz="4000" b="1" dirty="0">
              <a:solidFill>
                <a:schemeClr val="bg1">
                  <a:lumMod val="65000"/>
                </a:schemeClr>
              </a:solidFill>
              <a:latin typeface="Tw Cen MT" panose="020B0602020104020603" pitchFamily="34" charset="0"/>
            </a:endParaRP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D0413E2C-08DB-4F49-A6B9-24021E5B67A7}"/>
              </a:ext>
            </a:extLst>
          </p:cNvPr>
          <p:cNvSpPr txBox="1"/>
          <p:nvPr/>
        </p:nvSpPr>
        <p:spPr>
          <a:xfrm>
            <a:off x="2192559" y="920975"/>
            <a:ext cx="780505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 smtClean="0">
                <a:solidFill>
                  <a:schemeClr val="bg1">
                    <a:lumMod val="65000"/>
                  </a:schemeClr>
                </a:solidFill>
                <a:latin typeface="Tw Cen MT" panose="020B0602020104020603" pitchFamily="34" charset="0"/>
              </a:rPr>
              <a:t>WHAT WILL YOU LEARN WITH THIS SESSIONS</a:t>
            </a:r>
            <a:endParaRPr lang="en-US" sz="1600" dirty="0">
              <a:solidFill>
                <a:schemeClr val="bg1">
                  <a:lumMod val="65000"/>
                </a:schemeClr>
              </a:solidFill>
              <a:latin typeface="Tw Cen MT" panose="020B06020201040206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89596754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8" presetClass="emph" presetSubtype="0" decel="10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Rot by="7200000">
                                      <p:cBhvr>
                                        <p:cTn id="6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7" presetID="8" presetClass="emp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9000000">
                                      <p:cBhvr>
                                        <p:cTn id="8" dur="10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9" presetID="8" presetClass="emp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5400000">
                                      <p:cBhvr>
                                        <p:cTn id="10" dur="10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1" presetID="8" presetClass="emp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9600000">
                                      <p:cBhvr>
                                        <p:cTn id="12" dur="10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53" presetClass="entr" presetSubtype="16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53" presetClass="entr" presetSubtype="16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53" presetClass="entr" presetSubtype="16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0" dur="500" fill="hold"/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300" y="110836"/>
            <a:ext cx="6829425" cy="6636328"/>
          </a:xfrm>
          <a:prstGeom prst="rect">
            <a:avLst/>
          </a:prstGeom>
        </p:spPr>
      </p:pic>
      <p:sp>
        <p:nvSpPr>
          <p:cNvPr id="7" name="Rectangle 6"/>
          <p:cNvSpPr/>
          <p:nvPr/>
        </p:nvSpPr>
        <p:spPr>
          <a:xfrm>
            <a:off x="5129213" y="600501"/>
            <a:ext cx="7062788" cy="5704765"/>
          </a:xfrm>
          <a:prstGeom prst="rect">
            <a:avLst/>
          </a:prstGeom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pic>
        <p:nvPicPr>
          <p:cNvPr id="8" name="Graphic 7" descr="Receiver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595942" y="1028699"/>
            <a:ext cx="914400" cy="914400"/>
          </a:xfrm>
          <a:prstGeom prst="rect">
            <a:avLst/>
          </a:prstGeom>
        </p:spPr>
      </p:pic>
      <p:pic>
        <p:nvPicPr>
          <p:cNvPr id="9" name="Graphic 8" descr="Monitor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595942" y="2336751"/>
            <a:ext cx="914400" cy="914400"/>
          </a:xfrm>
          <a:prstGeom prst="rect">
            <a:avLst/>
          </a:prstGeom>
        </p:spPr>
      </p:pic>
      <p:pic>
        <p:nvPicPr>
          <p:cNvPr id="10" name="Graphic 9" descr="Download from cloud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595942" y="3644803"/>
            <a:ext cx="914400" cy="914400"/>
          </a:xfrm>
          <a:prstGeom prst="rect">
            <a:avLst/>
          </a:prstGeom>
        </p:spPr>
      </p:pic>
      <p:pic>
        <p:nvPicPr>
          <p:cNvPr id="11" name="Graphic 10" descr="Pie chart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5593561" y="4952856"/>
            <a:ext cx="914400" cy="914400"/>
          </a:xfrm>
          <a:prstGeom prst="rect">
            <a:avLst/>
          </a:prstGeom>
        </p:spPr>
      </p:pic>
      <p:sp>
        <p:nvSpPr>
          <p:cNvPr id="12" name="TextBox 11"/>
          <p:cNvSpPr txBox="1"/>
          <p:nvPr/>
        </p:nvSpPr>
        <p:spPr>
          <a:xfrm>
            <a:off x="7219951" y="920980"/>
            <a:ext cx="4586288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4400" dirty="0" smtClean="0">
                <a:solidFill>
                  <a:schemeClr val="bg1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  <a:cs typeface="Roboto Condensed Light" panose="02000000000000000000" pitchFamily="2" charset="0"/>
              </a:rPr>
              <a:t>SSBI, MSBI, BI, DATA Professionals</a:t>
            </a:r>
          </a:p>
          <a:p>
            <a:pPr algn="just"/>
            <a:endParaRPr lang="en-IN" sz="2400" dirty="0">
              <a:solidFill>
                <a:schemeClr val="bg1"/>
              </a:solidFill>
              <a:latin typeface="Roboto Condensed Light" panose="02000000000000000000" pitchFamily="2" charset="0"/>
              <a:ea typeface="Roboto Condensed Light" panose="02000000000000000000" pitchFamily="2" charset="0"/>
              <a:cs typeface="Roboto Condensed Light" panose="02000000000000000000" pitchFamily="2" charset="0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5129214" y="600500"/>
            <a:ext cx="133354" cy="570476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4" name="TextBox 13"/>
          <p:cNvSpPr txBox="1"/>
          <p:nvPr/>
        </p:nvSpPr>
        <p:spPr>
          <a:xfrm>
            <a:off x="7274719" y="2507419"/>
            <a:ext cx="4586288" cy="11387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4400" dirty="0" smtClean="0">
                <a:solidFill>
                  <a:schemeClr val="bg1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  <a:cs typeface="Roboto Condensed Light" panose="02000000000000000000" pitchFamily="2" charset="0"/>
              </a:rPr>
              <a:t>Data Developers</a:t>
            </a:r>
          </a:p>
          <a:p>
            <a:pPr algn="just"/>
            <a:endParaRPr lang="en-IN" sz="2400" dirty="0">
              <a:solidFill>
                <a:schemeClr val="bg1"/>
              </a:solidFill>
              <a:latin typeface="Roboto Condensed Light" panose="02000000000000000000" pitchFamily="2" charset="0"/>
              <a:ea typeface="Roboto Condensed Light" panose="02000000000000000000" pitchFamily="2" charset="0"/>
              <a:cs typeface="Roboto Condensed Light" panose="02000000000000000000" pitchFamily="2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7219951" y="3644803"/>
            <a:ext cx="4586288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4000" dirty="0" smtClean="0">
                <a:solidFill>
                  <a:schemeClr val="bg1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  <a:cs typeface="Roboto Condensed Light" panose="02000000000000000000" pitchFamily="2" charset="0"/>
              </a:rPr>
              <a:t>Artificial Intelligence</a:t>
            </a:r>
          </a:p>
          <a:p>
            <a:pPr algn="just"/>
            <a:endParaRPr lang="en-IN" sz="2400" dirty="0">
              <a:solidFill>
                <a:schemeClr val="bg1"/>
              </a:solidFill>
              <a:latin typeface="Roboto Condensed Light" panose="02000000000000000000" pitchFamily="2" charset="0"/>
              <a:ea typeface="Roboto Condensed Light" panose="02000000000000000000" pitchFamily="2" charset="0"/>
              <a:cs typeface="Roboto Condensed Light" panose="02000000000000000000" pitchFamily="2" charset="0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7372349" y="4845132"/>
            <a:ext cx="4710115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4000" dirty="0" smtClean="0">
                <a:solidFill>
                  <a:schemeClr val="bg1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  <a:cs typeface="Roboto Condensed Light" panose="02000000000000000000" pitchFamily="2" charset="0"/>
              </a:rPr>
              <a:t>Business Analysts</a:t>
            </a:r>
          </a:p>
          <a:p>
            <a:pPr algn="just"/>
            <a:endParaRPr lang="en-IN" sz="2400" dirty="0">
              <a:solidFill>
                <a:schemeClr val="bg1"/>
              </a:solidFill>
              <a:latin typeface="Roboto Condensed Light" panose="02000000000000000000" pitchFamily="2" charset="0"/>
              <a:ea typeface="Roboto Condensed Light" panose="02000000000000000000" pitchFamily="2" charset="0"/>
              <a:cs typeface="Roboto Condensed Light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738178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275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4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/>
      <p:bldP spid="14" grpId="0"/>
      <p:bldP spid="15" grpId="0"/>
      <p:bldP spid="16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7258FFF-F925-446B-8502-81C933981705}" type="slidenum">
              <a:rPr lang="en-IN" smtClean="0">
                <a:solidFill>
                  <a:srgbClr val="505050"/>
                </a:solidFill>
              </a:rPr>
              <a:pPr/>
              <a:t>14</a:t>
            </a:fld>
            <a:endParaRPr lang="en-IN">
              <a:solidFill>
                <a:srgbClr val="505050"/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3314701" y="114301"/>
            <a:ext cx="7058025" cy="627864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lIns="182880" tIns="146304" rIns="182880" bIns="146304" rtlCol="0">
            <a:sp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da-DK" sz="2400" dirty="0" smtClea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What’s PowerBI?</a:t>
            </a:r>
            <a:endParaRPr lang="en-IN" sz="2400" dirty="0" err="1" smtClean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5751" y="800428"/>
            <a:ext cx="11751312" cy="5860845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608312" y="6170844"/>
            <a:ext cx="1314450" cy="4476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07997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7258FFF-F925-446B-8502-81C933981705}" type="slidenum">
              <a:rPr lang="en-GB" smtClean="0">
                <a:solidFill>
                  <a:srgbClr val="505050"/>
                </a:solidFill>
              </a:rPr>
              <a:pPr/>
              <a:t>15</a:t>
            </a:fld>
            <a:endParaRPr lang="en-GB">
              <a:solidFill>
                <a:srgbClr val="505050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58511"/>
            <a:ext cx="11922762" cy="59704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58534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7258FFF-F925-446B-8502-81C933981705}" type="slidenum">
              <a:rPr lang="en-IN" smtClean="0">
                <a:solidFill>
                  <a:srgbClr val="505050"/>
                </a:solidFill>
              </a:rPr>
              <a:pPr/>
              <a:t>16</a:t>
            </a:fld>
            <a:endParaRPr lang="en-IN">
              <a:solidFill>
                <a:srgbClr val="505050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776542" y="6356350"/>
            <a:ext cx="1316850" cy="451143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130812" y="2301073"/>
            <a:ext cx="11791950" cy="627864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IN" sz="2400" dirty="0" err="1" smtClean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85230" y="485364"/>
            <a:ext cx="9421540" cy="5887272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53143" y="362333"/>
            <a:ext cx="9485714" cy="6133333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51888" y="361522"/>
            <a:ext cx="9488224" cy="61349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80968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7258FFF-F925-446B-8502-81C933981705}" type="slidenum">
              <a:rPr lang="en-IN" smtClean="0">
                <a:solidFill>
                  <a:srgbClr val="505050"/>
                </a:solidFill>
              </a:rPr>
              <a:pPr/>
              <a:t>17</a:t>
            </a:fld>
            <a:endParaRPr lang="en-IN">
              <a:solidFill>
                <a:srgbClr val="505050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776542" y="6356350"/>
            <a:ext cx="1316850" cy="451143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130812" y="2301073"/>
            <a:ext cx="11791950" cy="627864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IN" sz="2400" dirty="0" err="1" smtClean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76686" y="235147"/>
            <a:ext cx="11300202" cy="60184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72732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7258FFF-F925-446B-8502-81C933981705}" type="slidenum">
              <a:rPr lang="en-IN" smtClean="0">
                <a:solidFill>
                  <a:srgbClr val="505050"/>
                </a:solidFill>
              </a:rPr>
              <a:pPr/>
              <a:t>18</a:t>
            </a:fld>
            <a:endParaRPr lang="en-IN">
              <a:solidFill>
                <a:srgbClr val="505050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776542" y="6356350"/>
            <a:ext cx="1316850" cy="451143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130812" y="2301073"/>
            <a:ext cx="11791950" cy="627864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IN" sz="2400" dirty="0" err="1" smtClean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90512" y="0"/>
            <a:ext cx="11632250" cy="306863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00050" y="2928938"/>
            <a:ext cx="10563225" cy="38785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19273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7258FFF-F925-446B-8502-81C933981705}" type="slidenum">
              <a:rPr lang="en-IN" smtClean="0">
                <a:solidFill>
                  <a:srgbClr val="505050"/>
                </a:solidFill>
              </a:rPr>
              <a:pPr/>
              <a:t>19</a:t>
            </a:fld>
            <a:endParaRPr lang="en-IN">
              <a:solidFill>
                <a:srgbClr val="505050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776542" y="6356350"/>
            <a:ext cx="1316850" cy="451143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130812" y="2301073"/>
            <a:ext cx="11791950" cy="627864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IN" sz="2400" dirty="0" err="1" smtClean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85230" y="485364"/>
            <a:ext cx="9421540" cy="5887272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53143" y="362333"/>
            <a:ext cx="9485714" cy="6133333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56231" y="362333"/>
            <a:ext cx="9488224" cy="6134956"/>
          </a:xfrm>
          <a:prstGeom prst="rect">
            <a:avLst/>
          </a:prstGeom>
        </p:spPr>
      </p:pic>
      <p:cxnSp>
        <p:nvCxnSpPr>
          <p:cNvPr id="9" name="Straight Connector 8"/>
          <p:cNvCxnSpPr/>
          <p:nvPr/>
        </p:nvCxnSpPr>
        <p:spPr>
          <a:xfrm>
            <a:off x="5400675" y="1771650"/>
            <a:ext cx="285750" cy="757238"/>
          </a:xfrm>
          <a:prstGeom prst="line">
            <a:avLst/>
          </a:prstGeom>
          <a:ln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/>
          <p:nvPr/>
        </p:nvCxnSpPr>
        <p:spPr>
          <a:xfrm>
            <a:off x="6586538" y="3600450"/>
            <a:ext cx="142875" cy="828675"/>
          </a:xfrm>
          <a:prstGeom prst="line">
            <a:avLst/>
          </a:prstGeom>
          <a:ln>
            <a:headEnd type="none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/>
        </p:nvCxnSpPr>
        <p:spPr>
          <a:xfrm flipH="1">
            <a:off x="5272088" y="4257675"/>
            <a:ext cx="414337" cy="942975"/>
          </a:xfrm>
          <a:prstGeom prst="line">
            <a:avLst/>
          </a:prstGeom>
          <a:ln>
            <a:headEnd type="none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/>
        </p:nvCxnSpPr>
        <p:spPr>
          <a:xfrm flipH="1">
            <a:off x="4143375" y="3600450"/>
            <a:ext cx="228600" cy="1267227"/>
          </a:xfrm>
          <a:prstGeom prst="line">
            <a:avLst/>
          </a:prstGeom>
          <a:ln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/>
        </p:nvCxnSpPr>
        <p:spPr>
          <a:xfrm flipH="1">
            <a:off x="4017553" y="2356839"/>
            <a:ext cx="577526" cy="957861"/>
          </a:xfrm>
          <a:prstGeom prst="line">
            <a:avLst/>
          </a:prstGeom>
          <a:ln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822575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7258FFF-F925-446B-8502-81C933981705}" type="slidenum">
              <a:rPr lang="en-IN" smtClean="0">
                <a:solidFill>
                  <a:srgbClr val="505050"/>
                </a:solidFill>
              </a:rPr>
              <a:pPr/>
              <a:t>2</a:t>
            </a:fld>
            <a:endParaRPr lang="en-IN">
              <a:solidFill>
                <a:srgbClr val="505050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59492" y="0"/>
            <a:ext cx="12251491" cy="6857999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481063" y="6086120"/>
            <a:ext cx="1316850" cy="4511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38508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7258FFF-F925-446B-8502-81C933981705}" type="slidenum">
              <a:rPr lang="en-IN" smtClean="0">
                <a:solidFill>
                  <a:srgbClr val="505050"/>
                </a:solidFill>
              </a:rPr>
              <a:pPr/>
              <a:t>20</a:t>
            </a:fld>
            <a:endParaRPr lang="en-IN">
              <a:solidFill>
                <a:srgbClr val="505050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776542" y="6356350"/>
            <a:ext cx="1316850" cy="451143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130812" y="2301073"/>
            <a:ext cx="11791950" cy="627864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IN" sz="2400" dirty="0" err="1" smtClean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  <p:pic>
        <p:nvPicPr>
          <p:cNvPr id="46082" name="Picture 2" descr="Image result for Query editor in power bi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2737" y="157160"/>
            <a:ext cx="11615884" cy="56149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477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7258FFF-F925-446B-8502-81C933981705}" type="slidenum">
              <a:rPr lang="en-IN" smtClean="0">
                <a:solidFill>
                  <a:srgbClr val="505050"/>
                </a:solidFill>
              </a:rPr>
              <a:pPr/>
              <a:t>21</a:t>
            </a:fld>
            <a:endParaRPr lang="en-IN">
              <a:solidFill>
                <a:srgbClr val="505050"/>
              </a:solidFill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608312" y="6337926"/>
            <a:ext cx="1314450" cy="447675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3114675" y="157163"/>
            <a:ext cx="6954553" cy="627864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182880" tIns="146304" rIns="182880" bIns="146304" rtlCol="0">
            <a:sp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da-DK" sz="2400" dirty="0" smtClea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Power Query-II</a:t>
            </a:r>
            <a:endParaRPr lang="en-IN" sz="2400" dirty="0" err="1" smtClean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57711" y="985838"/>
            <a:ext cx="9507826" cy="53520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86851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7258FFF-F925-446B-8502-81C933981705}" type="slidenum">
              <a:rPr lang="en-IN" smtClean="0">
                <a:solidFill>
                  <a:srgbClr val="505050"/>
                </a:solidFill>
              </a:rPr>
              <a:pPr/>
              <a:t>22</a:t>
            </a:fld>
            <a:endParaRPr lang="en-IN">
              <a:solidFill>
                <a:srgbClr val="505050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7163" y="82204"/>
            <a:ext cx="11765599" cy="6608369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440703" y="6242898"/>
            <a:ext cx="1314450" cy="4476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08845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>
            <a:lumMod val="60000"/>
            <a:lumOff val="4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7258FFF-F925-446B-8502-81C933981705}" type="slidenum">
              <a:rPr lang="en-IN" smtClean="0">
                <a:solidFill>
                  <a:srgbClr val="505050"/>
                </a:solidFill>
              </a:rPr>
              <a:pPr/>
              <a:t>23</a:t>
            </a:fld>
            <a:endParaRPr lang="en-IN">
              <a:solidFill>
                <a:srgbClr val="505050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53537" y="971550"/>
            <a:ext cx="10591427" cy="5719023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440703" y="6242898"/>
            <a:ext cx="1314450" cy="447675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410662" y="41951"/>
            <a:ext cx="7877175" cy="9239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66831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7258FFF-F925-446B-8502-81C933981705}" type="slidenum">
              <a:rPr lang="en-IN" smtClean="0">
                <a:solidFill>
                  <a:srgbClr val="505050"/>
                </a:solidFill>
              </a:rPr>
              <a:pPr/>
              <a:t>24</a:t>
            </a:fld>
            <a:endParaRPr lang="en-IN">
              <a:solidFill>
                <a:srgbClr val="505050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348" y="126937"/>
            <a:ext cx="12243704" cy="6302438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440703" y="6242898"/>
            <a:ext cx="1314450" cy="4476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16579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7258FFF-F925-446B-8502-81C933981705}" type="slidenum">
              <a:rPr lang="en-IN" smtClean="0">
                <a:solidFill>
                  <a:srgbClr val="505050"/>
                </a:solidFill>
              </a:rPr>
              <a:pPr/>
              <a:t>25</a:t>
            </a:fld>
            <a:endParaRPr lang="en-IN">
              <a:solidFill>
                <a:srgbClr val="505050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440703" y="6242898"/>
            <a:ext cx="1314450" cy="447675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54140"/>
            <a:ext cx="12112007" cy="61830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82821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7258FFF-F925-446B-8502-81C933981705}" type="slidenum">
              <a:rPr lang="en-IN" smtClean="0">
                <a:solidFill>
                  <a:srgbClr val="505050"/>
                </a:solidFill>
              </a:rPr>
              <a:pPr/>
              <a:t>26</a:t>
            </a:fld>
            <a:endParaRPr lang="en-IN">
              <a:solidFill>
                <a:srgbClr val="505050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776542" y="6356350"/>
            <a:ext cx="1316850" cy="451143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130812" y="2301073"/>
            <a:ext cx="11791950" cy="627864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IN" sz="2400" dirty="0" err="1" smtClean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85230" y="485364"/>
            <a:ext cx="9421540" cy="5887272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53143" y="362333"/>
            <a:ext cx="9485714" cy="6133333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51888" y="361522"/>
            <a:ext cx="9488224" cy="6134956"/>
          </a:xfrm>
          <a:prstGeom prst="rect">
            <a:avLst/>
          </a:prstGeom>
        </p:spPr>
      </p:pic>
      <p:cxnSp>
        <p:nvCxnSpPr>
          <p:cNvPr id="9" name="Straight Connector 8"/>
          <p:cNvCxnSpPr/>
          <p:nvPr/>
        </p:nvCxnSpPr>
        <p:spPr>
          <a:xfrm>
            <a:off x="5429250" y="1700213"/>
            <a:ext cx="300038" cy="900112"/>
          </a:xfrm>
          <a:prstGeom prst="line">
            <a:avLst/>
          </a:prstGeom>
          <a:ln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/>
          <p:nvPr/>
        </p:nvCxnSpPr>
        <p:spPr>
          <a:xfrm>
            <a:off x="6686550" y="2301073"/>
            <a:ext cx="14288" cy="1113640"/>
          </a:xfrm>
          <a:prstGeom prst="line">
            <a:avLst/>
          </a:prstGeom>
          <a:ln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/>
        </p:nvCxnSpPr>
        <p:spPr>
          <a:xfrm flipH="1">
            <a:off x="5529263" y="4257675"/>
            <a:ext cx="200025" cy="971550"/>
          </a:xfrm>
          <a:prstGeom prst="line">
            <a:avLst/>
          </a:prstGeom>
          <a:ln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/>
        </p:nvCxnSpPr>
        <p:spPr>
          <a:xfrm flipH="1">
            <a:off x="4129088" y="3714750"/>
            <a:ext cx="585787" cy="914400"/>
          </a:xfrm>
          <a:prstGeom prst="line">
            <a:avLst/>
          </a:prstGeom>
          <a:ln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/>
        </p:nvCxnSpPr>
        <p:spPr>
          <a:xfrm flipH="1">
            <a:off x="4386263" y="2443163"/>
            <a:ext cx="242887" cy="828675"/>
          </a:xfrm>
          <a:prstGeom prst="line">
            <a:avLst/>
          </a:prstGeom>
          <a:ln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433322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DDDDD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7258FFF-F925-446B-8502-81C933981705}" type="slidenum">
              <a:rPr lang="en-IN" smtClean="0">
                <a:solidFill>
                  <a:srgbClr val="505050"/>
                </a:solidFill>
              </a:rPr>
              <a:pPr/>
              <a:t>27</a:t>
            </a:fld>
            <a:endParaRPr lang="en-IN">
              <a:solidFill>
                <a:srgbClr val="505050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440703" y="6242898"/>
            <a:ext cx="1314450" cy="447675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328613" y="542925"/>
            <a:ext cx="11426540" cy="5410712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da-DK" sz="4400" dirty="0" smtClea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MASHUP BY ADDING </a:t>
            </a:r>
          </a:p>
          <a:p>
            <a:pPr>
              <a:lnSpc>
                <a:spcPct val="90000"/>
              </a:lnSpc>
              <a:spcAft>
                <a:spcPts val="600"/>
              </a:spcAft>
            </a:pPr>
            <a:endParaRPr lang="da-DK" sz="4400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  <a:p>
            <a:pPr>
              <a:lnSpc>
                <a:spcPct val="90000"/>
              </a:lnSpc>
              <a:spcAft>
                <a:spcPts val="600"/>
              </a:spcAft>
            </a:pPr>
            <a:endParaRPr lang="da-DK" sz="4400" dirty="0" smtClean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  <a:p>
            <a:pPr>
              <a:lnSpc>
                <a:spcPct val="90000"/>
              </a:lnSpc>
              <a:spcAft>
                <a:spcPts val="600"/>
              </a:spcAft>
            </a:pPr>
            <a:endParaRPr lang="da-DK" sz="4400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  <a:p>
            <a:pPr>
              <a:lnSpc>
                <a:spcPct val="90000"/>
              </a:lnSpc>
              <a:spcAft>
                <a:spcPts val="600"/>
              </a:spcAft>
            </a:pPr>
            <a:endParaRPr lang="da-DK" sz="4400" dirty="0" smtClean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  <a:p>
            <a:pPr>
              <a:lnSpc>
                <a:spcPct val="90000"/>
              </a:lnSpc>
              <a:spcAft>
                <a:spcPts val="600"/>
              </a:spcAft>
            </a:pPr>
            <a:endParaRPr lang="da-DK" sz="4400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  <a:p>
            <a:pPr algn="r">
              <a:lnSpc>
                <a:spcPct val="90000"/>
              </a:lnSpc>
              <a:spcAft>
                <a:spcPts val="600"/>
              </a:spcAft>
            </a:pPr>
            <a:r>
              <a:rPr lang="da-DK" sz="7200" dirty="0" smtClean="0">
                <a:solidFill>
                  <a:srgbClr val="FFC000"/>
                </a:solidFill>
              </a:rPr>
              <a:t>DAX MEASURES</a:t>
            </a:r>
            <a:endParaRPr lang="en-GB" sz="7200" dirty="0" err="1" smtClean="0">
              <a:solidFill>
                <a:srgbClr val="FFC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561237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750"/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7258FFF-F925-446B-8502-81C933981705}" type="slidenum">
              <a:rPr lang="en-IN" smtClean="0">
                <a:solidFill>
                  <a:srgbClr val="505050"/>
                </a:solidFill>
              </a:rPr>
              <a:pPr/>
              <a:t>28</a:t>
            </a:fld>
            <a:endParaRPr lang="en-IN">
              <a:solidFill>
                <a:srgbClr val="505050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440703" y="6242898"/>
            <a:ext cx="1314450" cy="447675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8405" y="166687"/>
            <a:ext cx="11750654" cy="59055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81459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7258FFF-F925-446B-8502-81C933981705}" type="slidenum">
              <a:rPr lang="en-IN" smtClean="0">
                <a:solidFill>
                  <a:srgbClr val="505050"/>
                </a:solidFill>
              </a:rPr>
              <a:pPr/>
              <a:t>29</a:t>
            </a:fld>
            <a:endParaRPr lang="en-IN">
              <a:solidFill>
                <a:srgbClr val="505050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440703" y="6242898"/>
            <a:ext cx="1314450" cy="447675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2874" y="152400"/>
            <a:ext cx="11779887" cy="58054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58384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7258FFF-F925-446B-8502-81C933981705}" type="slidenum">
              <a:rPr lang="en-IN" smtClean="0">
                <a:solidFill>
                  <a:srgbClr val="505050"/>
                </a:solidFill>
              </a:rPr>
              <a:pPr/>
              <a:t>3</a:t>
            </a:fld>
            <a:endParaRPr lang="en-IN">
              <a:solidFill>
                <a:srgbClr val="505050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440703" y="6242898"/>
            <a:ext cx="1314450" cy="447675"/>
          </a:xfrm>
          <a:prstGeom prst="rect">
            <a:avLst/>
          </a:prstGeom>
        </p:spPr>
      </p:pic>
      <p:sp>
        <p:nvSpPr>
          <p:cNvPr id="11" name="TextBox 10"/>
          <p:cNvSpPr txBox="1"/>
          <p:nvPr/>
        </p:nvSpPr>
        <p:spPr>
          <a:xfrm>
            <a:off x="600954" y="114456"/>
            <a:ext cx="10901363" cy="6364819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IN" sz="8800" dirty="0" smtClea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WHY </a:t>
            </a:r>
          </a:p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IN" sz="8800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da-DK" sz="8000" dirty="0" smtClean="0">
              <a:solidFill>
                <a:srgbClr val="FFCC00"/>
              </a:solidFill>
            </a:endParaRPr>
          </a:p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da-DK" sz="8000" dirty="0" smtClean="0">
              <a:solidFill>
                <a:srgbClr val="FFCC00"/>
              </a:solidFill>
            </a:endParaRPr>
          </a:p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da-DK" sz="8000" dirty="0" smtClean="0">
                <a:solidFill>
                  <a:srgbClr val="FFCC00"/>
                </a:solidFill>
              </a:rPr>
              <a:t>POWER</a:t>
            </a:r>
            <a:r>
              <a:rPr lang="da-DK" sz="8000" dirty="0" smtClea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BI</a:t>
            </a:r>
            <a:endParaRPr lang="en-IN" sz="8000" dirty="0" err="1" smtClean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62818" y="1655737"/>
            <a:ext cx="4267200" cy="3286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14205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7258FFF-F925-446B-8502-81C933981705}" type="slidenum">
              <a:rPr lang="en-IN" smtClean="0">
                <a:solidFill>
                  <a:srgbClr val="505050"/>
                </a:solidFill>
              </a:rPr>
              <a:pPr/>
              <a:t>30</a:t>
            </a:fld>
            <a:endParaRPr lang="en-IN">
              <a:solidFill>
                <a:srgbClr val="505050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8374" y="108798"/>
            <a:ext cx="11771702" cy="6452966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709941" y="6270856"/>
            <a:ext cx="1314450" cy="4476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79308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7258FFF-F925-446B-8502-81C933981705}" type="slidenum">
              <a:rPr lang="en-IN" smtClean="0">
                <a:solidFill>
                  <a:srgbClr val="505050"/>
                </a:solidFill>
              </a:rPr>
              <a:pPr/>
              <a:t>31</a:t>
            </a:fld>
            <a:endParaRPr lang="en-IN">
              <a:solidFill>
                <a:srgbClr val="505050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776542" y="6356350"/>
            <a:ext cx="1316850" cy="451143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130812" y="2301073"/>
            <a:ext cx="11791950" cy="627864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IN" sz="2400" dirty="0" err="1" smtClean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  <p:pic>
        <p:nvPicPr>
          <p:cNvPr id="48130" name="Picture 2" descr="Image result for PowerBI dax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93137" y="109732"/>
            <a:ext cx="5067300" cy="13335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Rectangle 3"/>
          <p:cNvSpPr/>
          <p:nvPr/>
        </p:nvSpPr>
        <p:spPr>
          <a:xfrm>
            <a:off x="445137" y="1502688"/>
            <a:ext cx="11477625" cy="507831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dirty="0">
                <a:solidFill>
                  <a:srgbClr val="000000"/>
                </a:solidFill>
                <a:latin typeface="segoe-ui_normal"/>
              </a:rPr>
              <a:t>This formula includes the following syntax elements</a:t>
            </a:r>
            <a:r>
              <a:rPr lang="en-GB" dirty="0" smtClean="0">
                <a:solidFill>
                  <a:srgbClr val="000000"/>
                </a:solidFill>
                <a:latin typeface="segoe-ui_normal"/>
              </a:rPr>
              <a:t>:</a:t>
            </a:r>
          </a:p>
          <a:p>
            <a:endParaRPr lang="en-GB" dirty="0">
              <a:solidFill>
                <a:srgbClr val="000000"/>
              </a:solidFill>
              <a:latin typeface="segoe-ui_normal"/>
            </a:endParaRPr>
          </a:p>
          <a:p>
            <a:r>
              <a:rPr lang="en-GB" b="1" dirty="0">
                <a:solidFill>
                  <a:srgbClr val="000000"/>
                </a:solidFill>
                <a:latin typeface="segoe-ui_bold"/>
              </a:rPr>
              <a:t>A.</a:t>
            </a:r>
            <a:r>
              <a:rPr lang="en-GB" dirty="0">
                <a:solidFill>
                  <a:srgbClr val="000000"/>
                </a:solidFill>
                <a:latin typeface="segoe-ui_normal"/>
              </a:rPr>
              <a:t> The measure name </a:t>
            </a:r>
            <a:r>
              <a:rPr lang="en-GB" b="1" dirty="0">
                <a:solidFill>
                  <a:srgbClr val="000000"/>
                </a:solidFill>
                <a:latin typeface="segoe-ui_bold"/>
              </a:rPr>
              <a:t>Total Sales</a:t>
            </a:r>
            <a:r>
              <a:rPr lang="en-GB" dirty="0" smtClean="0">
                <a:solidFill>
                  <a:srgbClr val="000000"/>
                </a:solidFill>
                <a:latin typeface="segoe-ui_normal"/>
              </a:rPr>
              <a:t>.</a:t>
            </a:r>
          </a:p>
          <a:p>
            <a:endParaRPr lang="en-GB" dirty="0">
              <a:solidFill>
                <a:srgbClr val="000000"/>
              </a:solidFill>
              <a:latin typeface="segoe-ui_normal"/>
            </a:endParaRPr>
          </a:p>
          <a:p>
            <a:r>
              <a:rPr lang="en-GB" b="1" dirty="0">
                <a:solidFill>
                  <a:srgbClr val="000000"/>
                </a:solidFill>
                <a:latin typeface="segoe-ui_bold"/>
              </a:rPr>
              <a:t>B.</a:t>
            </a:r>
            <a:r>
              <a:rPr lang="en-GB" dirty="0">
                <a:solidFill>
                  <a:srgbClr val="000000"/>
                </a:solidFill>
                <a:latin typeface="segoe-ui_normal"/>
              </a:rPr>
              <a:t> The equals sign operator (</a:t>
            </a:r>
            <a:r>
              <a:rPr lang="en-GB" b="1" dirty="0">
                <a:solidFill>
                  <a:srgbClr val="000000"/>
                </a:solidFill>
                <a:latin typeface="segoe-ui_bold"/>
              </a:rPr>
              <a:t>=</a:t>
            </a:r>
            <a:r>
              <a:rPr lang="en-GB" dirty="0">
                <a:solidFill>
                  <a:srgbClr val="000000"/>
                </a:solidFill>
                <a:latin typeface="segoe-ui_normal"/>
              </a:rPr>
              <a:t>) indicates the beginning of the formula. When calculated, it will return a result</a:t>
            </a:r>
            <a:r>
              <a:rPr lang="en-GB" dirty="0" smtClean="0">
                <a:solidFill>
                  <a:srgbClr val="000000"/>
                </a:solidFill>
                <a:latin typeface="segoe-ui_normal"/>
              </a:rPr>
              <a:t>.</a:t>
            </a:r>
          </a:p>
          <a:p>
            <a:endParaRPr lang="en-GB" dirty="0">
              <a:solidFill>
                <a:srgbClr val="000000"/>
              </a:solidFill>
              <a:latin typeface="segoe-ui_normal"/>
            </a:endParaRPr>
          </a:p>
          <a:p>
            <a:r>
              <a:rPr lang="en-GB" b="1" dirty="0">
                <a:solidFill>
                  <a:srgbClr val="000000"/>
                </a:solidFill>
                <a:latin typeface="segoe-ui_bold"/>
              </a:rPr>
              <a:t>C.</a:t>
            </a:r>
            <a:r>
              <a:rPr lang="en-GB" dirty="0">
                <a:solidFill>
                  <a:srgbClr val="000000"/>
                </a:solidFill>
                <a:latin typeface="segoe-ui_normal"/>
              </a:rPr>
              <a:t> The DAX function </a:t>
            </a:r>
            <a:r>
              <a:rPr lang="en-GB" b="1" dirty="0">
                <a:solidFill>
                  <a:srgbClr val="000000"/>
                </a:solidFill>
                <a:latin typeface="segoe-ui_bold"/>
              </a:rPr>
              <a:t>SUM</a:t>
            </a:r>
            <a:r>
              <a:rPr lang="en-GB" dirty="0">
                <a:solidFill>
                  <a:srgbClr val="000000"/>
                </a:solidFill>
                <a:latin typeface="segoe-ui_normal"/>
              </a:rPr>
              <a:t> adds up all of the numbers in the </a:t>
            </a:r>
            <a:r>
              <a:rPr lang="en-GB" b="1" dirty="0">
                <a:solidFill>
                  <a:srgbClr val="000000"/>
                </a:solidFill>
                <a:latin typeface="segoe-ui_bold"/>
              </a:rPr>
              <a:t>Sales[</a:t>
            </a:r>
            <a:r>
              <a:rPr lang="en-GB" b="1" dirty="0" err="1">
                <a:solidFill>
                  <a:srgbClr val="000000"/>
                </a:solidFill>
                <a:latin typeface="segoe-ui_bold"/>
              </a:rPr>
              <a:t>SalesAmount</a:t>
            </a:r>
            <a:r>
              <a:rPr lang="en-GB" b="1" dirty="0">
                <a:solidFill>
                  <a:srgbClr val="000000"/>
                </a:solidFill>
                <a:latin typeface="segoe-ui_bold"/>
              </a:rPr>
              <a:t>]</a:t>
            </a:r>
            <a:r>
              <a:rPr lang="en-GB" dirty="0">
                <a:solidFill>
                  <a:srgbClr val="000000"/>
                </a:solidFill>
                <a:latin typeface="segoe-ui_normal"/>
              </a:rPr>
              <a:t> column. </a:t>
            </a:r>
            <a:endParaRPr lang="en-GB" dirty="0" smtClean="0">
              <a:solidFill>
                <a:srgbClr val="000000"/>
              </a:solidFill>
              <a:latin typeface="segoe-ui_normal"/>
            </a:endParaRPr>
          </a:p>
          <a:p>
            <a:endParaRPr lang="en-GB" dirty="0">
              <a:solidFill>
                <a:srgbClr val="000000"/>
              </a:solidFill>
              <a:latin typeface="segoe-ui_normal"/>
            </a:endParaRPr>
          </a:p>
          <a:p>
            <a:r>
              <a:rPr lang="en-GB" b="1" dirty="0">
                <a:solidFill>
                  <a:srgbClr val="000000"/>
                </a:solidFill>
                <a:latin typeface="segoe-ui_bold"/>
              </a:rPr>
              <a:t>D.</a:t>
            </a:r>
            <a:r>
              <a:rPr lang="en-GB" dirty="0">
                <a:solidFill>
                  <a:srgbClr val="000000"/>
                </a:solidFill>
                <a:latin typeface="segoe-ui_normal"/>
              </a:rPr>
              <a:t> Parenthesis </a:t>
            </a:r>
            <a:r>
              <a:rPr lang="en-GB" b="1" dirty="0">
                <a:solidFill>
                  <a:srgbClr val="000000"/>
                </a:solidFill>
                <a:latin typeface="segoe-ui_bold"/>
              </a:rPr>
              <a:t>()</a:t>
            </a:r>
            <a:r>
              <a:rPr lang="en-GB" dirty="0">
                <a:solidFill>
                  <a:srgbClr val="000000"/>
                </a:solidFill>
                <a:latin typeface="segoe-ui_normal"/>
              </a:rPr>
              <a:t> surround an expression containing one or more arguments. All functions require at least one argument. An argument passes a value to a function</a:t>
            </a:r>
            <a:r>
              <a:rPr lang="en-GB" dirty="0" smtClean="0">
                <a:solidFill>
                  <a:srgbClr val="000000"/>
                </a:solidFill>
                <a:latin typeface="segoe-ui_normal"/>
              </a:rPr>
              <a:t>.</a:t>
            </a:r>
          </a:p>
          <a:p>
            <a:endParaRPr lang="en-GB" dirty="0">
              <a:solidFill>
                <a:srgbClr val="000000"/>
              </a:solidFill>
              <a:latin typeface="segoe-ui_normal"/>
            </a:endParaRPr>
          </a:p>
          <a:p>
            <a:r>
              <a:rPr lang="en-GB" b="1" dirty="0">
                <a:solidFill>
                  <a:srgbClr val="000000"/>
                </a:solidFill>
                <a:latin typeface="segoe-ui_bold"/>
              </a:rPr>
              <a:t>E.</a:t>
            </a:r>
            <a:r>
              <a:rPr lang="en-GB" dirty="0">
                <a:solidFill>
                  <a:srgbClr val="000000"/>
                </a:solidFill>
                <a:latin typeface="segoe-ui_normal"/>
              </a:rPr>
              <a:t> The referenced table </a:t>
            </a:r>
            <a:r>
              <a:rPr lang="en-GB" b="1" dirty="0">
                <a:solidFill>
                  <a:srgbClr val="000000"/>
                </a:solidFill>
                <a:latin typeface="segoe-ui_bold"/>
              </a:rPr>
              <a:t>Sales</a:t>
            </a:r>
            <a:r>
              <a:rPr lang="en-GB" dirty="0" smtClean="0">
                <a:solidFill>
                  <a:srgbClr val="000000"/>
                </a:solidFill>
                <a:latin typeface="segoe-ui_normal"/>
              </a:rPr>
              <a:t>.</a:t>
            </a:r>
          </a:p>
          <a:p>
            <a:endParaRPr lang="en-GB" dirty="0">
              <a:solidFill>
                <a:srgbClr val="000000"/>
              </a:solidFill>
              <a:latin typeface="segoe-ui_normal"/>
            </a:endParaRPr>
          </a:p>
          <a:p>
            <a:r>
              <a:rPr lang="en-GB" b="1" dirty="0">
                <a:solidFill>
                  <a:srgbClr val="000000"/>
                </a:solidFill>
                <a:latin typeface="segoe-ui_bold"/>
              </a:rPr>
              <a:t>F.</a:t>
            </a:r>
            <a:r>
              <a:rPr lang="en-GB" dirty="0">
                <a:solidFill>
                  <a:srgbClr val="000000"/>
                </a:solidFill>
                <a:latin typeface="segoe-ui_normal"/>
              </a:rPr>
              <a:t> The referenced column </a:t>
            </a:r>
            <a:r>
              <a:rPr lang="en-GB" b="1" dirty="0">
                <a:solidFill>
                  <a:srgbClr val="000000"/>
                </a:solidFill>
                <a:latin typeface="segoe-ui_bold"/>
              </a:rPr>
              <a:t>[</a:t>
            </a:r>
            <a:r>
              <a:rPr lang="en-GB" b="1" dirty="0" err="1">
                <a:solidFill>
                  <a:srgbClr val="000000"/>
                </a:solidFill>
                <a:latin typeface="segoe-ui_bold"/>
              </a:rPr>
              <a:t>SalesAmount</a:t>
            </a:r>
            <a:r>
              <a:rPr lang="en-GB" b="1" dirty="0">
                <a:solidFill>
                  <a:srgbClr val="000000"/>
                </a:solidFill>
                <a:latin typeface="segoe-ui_bold"/>
              </a:rPr>
              <a:t>]</a:t>
            </a:r>
            <a:r>
              <a:rPr lang="en-GB" dirty="0">
                <a:solidFill>
                  <a:srgbClr val="000000"/>
                </a:solidFill>
                <a:latin typeface="segoe-ui_normal"/>
              </a:rPr>
              <a:t> in the Sales table. With this argument, the SUM function knows on which column to aggregate a SUM</a:t>
            </a:r>
            <a:r>
              <a:rPr lang="en-GB" dirty="0" smtClean="0">
                <a:solidFill>
                  <a:srgbClr val="000000"/>
                </a:solidFill>
                <a:latin typeface="segoe-ui_normal"/>
              </a:rPr>
              <a:t>.</a:t>
            </a:r>
          </a:p>
          <a:p>
            <a:endParaRPr lang="en-GB" dirty="0">
              <a:solidFill>
                <a:srgbClr val="000000"/>
              </a:solidFill>
              <a:latin typeface="segoe-ui_normal"/>
            </a:endParaRPr>
          </a:p>
          <a:p>
            <a:r>
              <a:rPr lang="en-GB" dirty="0">
                <a:solidFill>
                  <a:srgbClr val="000000"/>
                </a:solidFill>
                <a:latin typeface="segoe-ui_normal"/>
              </a:rPr>
              <a:t>When trying to understand a DAX formula, it is often helpful to break down each of the elements into a language you think and speak every day. For example, you can read this formula as:</a:t>
            </a:r>
          </a:p>
        </p:txBody>
      </p:sp>
    </p:spTree>
    <p:extLst>
      <p:ext uri="{BB962C8B-B14F-4D97-AF65-F5344CB8AC3E}">
        <p14:creationId xmlns:p14="http://schemas.microsoft.com/office/powerpoint/2010/main" val="27699327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7258FFF-F925-446B-8502-81C933981705}" type="slidenum">
              <a:rPr lang="en-IN" smtClean="0">
                <a:solidFill>
                  <a:srgbClr val="505050"/>
                </a:solidFill>
              </a:rPr>
              <a:pPr/>
              <a:t>32</a:t>
            </a:fld>
            <a:endParaRPr lang="en-IN">
              <a:solidFill>
                <a:srgbClr val="505050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440703" y="6242898"/>
            <a:ext cx="1314450" cy="447675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9975" y="252413"/>
            <a:ext cx="11904388" cy="5825552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342454" y="5320822"/>
            <a:ext cx="6523809" cy="15142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21059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7258FFF-F925-446B-8502-81C933981705}" type="slidenum">
              <a:rPr lang="en-IN" smtClean="0">
                <a:solidFill>
                  <a:srgbClr val="505050"/>
                </a:solidFill>
              </a:rPr>
              <a:pPr/>
              <a:t>33</a:t>
            </a:fld>
            <a:endParaRPr lang="en-IN">
              <a:solidFill>
                <a:srgbClr val="505050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776542" y="6356350"/>
            <a:ext cx="1316850" cy="451143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130812" y="2301073"/>
            <a:ext cx="11791950" cy="627864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IN" sz="2400" dirty="0" err="1" smtClean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85230" y="485364"/>
            <a:ext cx="9421540" cy="5887272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53143" y="362333"/>
            <a:ext cx="9485714" cy="6133333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51888" y="361522"/>
            <a:ext cx="9488224" cy="6134956"/>
          </a:xfrm>
          <a:prstGeom prst="rect">
            <a:avLst/>
          </a:prstGeom>
        </p:spPr>
      </p:pic>
      <p:cxnSp>
        <p:nvCxnSpPr>
          <p:cNvPr id="9" name="Straight Connector 8"/>
          <p:cNvCxnSpPr/>
          <p:nvPr/>
        </p:nvCxnSpPr>
        <p:spPr>
          <a:xfrm>
            <a:off x="5686425" y="1785938"/>
            <a:ext cx="0" cy="942975"/>
          </a:xfrm>
          <a:prstGeom prst="line">
            <a:avLst/>
          </a:prstGeom>
          <a:ln>
            <a:headEnd type="none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" name="Straight Connector 10"/>
          <p:cNvCxnSpPr/>
          <p:nvPr/>
        </p:nvCxnSpPr>
        <p:spPr>
          <a:xfrm flipH="1">
            <a:off x="6515100" y="2301073"/>
            <a:ext cx="185738" cy="1070777"/>
          </a:xfrm>
          <a:prstGeom prst="line">
            <a:avLst/>
          </a:prstGeom>
          <a:ln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/>
        </p:nvCxnSpPr>
        <p:spPr>
          <a:xfrm flipH="1">
            <a:off x="6572250" y="3614738"/>
            <a:ext cx="128588" cy="1057275"/>
          </a:xfrm>
          <a:prstGeom prst="line">
            <a:avLst/>
          </a:prstGeom>
          <a:ln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/>
        </p:nvCxnSpPr>
        <p:spPr>
          <a:xfrm flipH="1">
            <a:off x="5372100" y="4214813"/>
            <a:ext cx="314325" cy="1071562"/>
          </a:xfrm>
          <a:prstGeom prst="line">
            <a:avLst/>
          </a:prstGeom>
          <a:ln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464990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7258FFF-F925-446B-8502-81C933981705}" type="slidenum">
              <a:rPr lang="en-IN" smtClean="0">
                <a:solidFill>
                  <a:srgbClr val="505050"/>
                </a:solidFill>
              </a:rPr>
              <a:pPr/>
              <a:t>34</a:t>
            </a:fld>
            <a:endParaRPr lang="en-IN">
              <a:solidFill>
                <a:srgbClr val="505050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776542" y="6356350"/>
            <a:ext cx="1316850" cy="451143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130812" y="2301073"/>
            <a:ext cx="11791950" cy="627864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IN" sz="2400" dirty="0" err="1" smtClean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350292" y="1100744"/>
            <a:ext cx="11743099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dirty="0">
                <a:solidFill>
                  <a:srgbClr val="000000"/>
                </a:solidFill>
                <a:latin typeface="segoe-ui_normal"/>
              </a:rPr>
              <a:t>A Power BI </a:t>
            </a:r>
            <a:r>
              <a:rPr lang="en-GB" b="1" i="1" dirty="0">
                <a:solidFill>
                  <a:srgbClr val="000000"/>
                </a:solidFill>
                <a:latin typeface="segoe-ui_bold"/>
              </a:rPr>
              <a:t>dashboard</a:t>
            </a:r>
            <a:r>
              <a:rPr lang="en-GB" dirty="0">
                <a:solidFill>
                  <a:srgbClr val="000000"/>
                </a:solidFill>
                <a:latin typeface="segoe-ui_normal"/>
              </a:rPr>
              <a:t> is a single page, often called a canvas, that uses visualizations to tell a story. Because it is limited to one page, a well-designed dashboard contains only the most-important elements of that story.</a:t>
            </a:r>
            <a:endParaRPr lang="en-GB" dirty="0"/>
          </a:p>
        </p:txBody>
      </p:sp>
      <p:sp>
        <p:nvSpPr>
          <p:cNvPr id="6" name="TextBox 5"/>
          <p:cNvSpPr txBox="1"/>
          <p:nvPr/>
        </p:nvSpPr>
        <p:spPr>
          <a:xfrm>
            <a:off x="3398293" y="354842"/>
            <a:ext cx="6182435" cy="627864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da-DK" sz="2400" dirty="0" smtClea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PowerBI Dashboard to visualise the data</a:t>
            </a:r>
            <a:endParaRPr lang="en-GB" sz="2400" dirty="0" err="1" smtClean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975363" y="2176992"/>
            <a:ext cx="4102848" cy="34049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50333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7258FFF-F925-446B-8502-81C933981705}" type="slidenum">
              <a:rPr lang="en-IN" smtClean="0">
                <a:solidFill>
                  <a:srgbClr val="505050"/>
                </a:solidFill>
              </a:rPr>
              <a:pPr/>
              <a:t>35</a:t>
            </a:fld>
            <a:endParaRPr lang="en-IN">
              <a:solidFill>
                <a:srgbClr val="505050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776542" y="6356350"/>
            <a:ext cx="1316850" cy="451143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130812" y="2301073"/>
            <a:ext cx="11791950" cy="627864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IN" sz="2400" dirty="0" err="1" smtClean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  <p:pic>
        <p:nvPicPr>
          <p:cNvPr id="50178" name="Picture 2" descr="Image result for Powerbi dashboard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5948" y="239080"/>
            <a:ext cx="11336814" cy="60060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172646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7258FFF-F925-446B-8502-81C933981705}" type="slidenum">
              <a:rPr lang="en-IN" smtClean="0">
                <a:solidFill>
                  <a:srgbClr val="505050"/>
                </a:solidFill>
              </a:rPr>
              <a:pPr/>
              <a:t>36</a:t>
            </a:fld>
            <a:endParaRPr lang="en-IN">
              <a:solidFill>
                <a:srgbClr val="505050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776542" y="6356350"/>
            <a:ext cx="1316850" cy="451143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130812" y="2301073"/>
            <a:ext cx="11791950" cy="627864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IN" sz="2400" dirty="0" err="1" smtClean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287728" y="527334"/>
            <a:ext cx="6686550" cy="59245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94233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7258FFF-F925-446B-8502-81C933981705}" type="slidenum">
              <a:rPr lang="en-IN" smtClean="0">
                <a:solidFill>
                  <a:srgbClr val="505050"/>
                </a:solidFill>
              </a:rPr>
              <a:pPr/>
              <a:t>37</a:t>
            </a:fld>
            <a:endParaRPr lang="en-IN">
              <a:solidFill>
                <a:srgbClr val="505050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776542" y="6356350"/>
            <a:ext cx="1316850" cy="451143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130812" y="2301073"/>
            <a:ext cx="11791950" cy="627864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IN" sz="2400" dirty="0" err="1" smtClean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85230" y="485364"/>
            <a:ext cx="9421540" cy="5887272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53143" y="362333"/>
            <a:ext cx="9485714" cy="6133333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51888" y="361522"/>
            <a:ext cx="9488224" cy="6134956"/>
          </a:xfrm>
          <a:prstGeom prst="rect">
            <a:avLst/>
          </a:prstGeom>
        </p:spPr>
      </p:pic>
      <p:cxnSp>
        <p:nvCxnSpPr>
          <p:cNvPr id="9" name="Straight Connector 8"/>
          <p:cNvCxnSpPr/>
          <p:nvPr/>
        </p:nvCxnSpPr>
        <p:spPr>
          <a:xfrm>
            <a:off x="5568287" y="1774209"/>
            <a:ext cx="54591" cy="873457"/>
          </a:xfrm>
          <a:prstGeom prst="line">
            <a:avLst/>
          </a:prstGeom>
          <a:ln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/>
          <p:nvPr/>
        </p:nvCxnSpPr>
        <p:spPr>
          <a:xfrm>
            <a:off x="6646460" y="2301073"/>
            <a:ext cx="27295" cy="988037"/>
          </a:xfrm>
          <a:prstGeom prst="line">
            <a:avLst/>
          </a:prstGeom>
          <a:ln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/>
        </p:nvCxnSpPr>
        <p:spPr>
          <a:xfrm flipH="1">
            <a:off x="6469039" y="3684896"/>
            <a:ext cx="81886" cy="846161"/>
          </a:xfrm>
          <a:prstGeom prst="line">
            <a:avLst/>
          </a:prstGeom>
          <a:ln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/>
        </p:nvCxnSpPr>
        <p:spPr>
          <a:xfrm>
            <a:off x="5377218" y="4312693"/>
            <a:ext cx="191069" cy="955343"/>
          </a:xfrm>
          <a:prstGeom prst="line">
            <a:avLst/>
          </a:prstGeom>
          <a:ln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/>
        </p:nvCxnSpPr>
        <p:spPr>
          <a:xfrm flipH="1">
            <a:off x="4271749" y="3684896"/>
            <a:ext cx="409433" cy="1091820"/>
          </a:xfrm>
          <a:prstGeom prst="line">
            <a:avLst/>
          </a:prstGeom>
          <a:ln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820531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3934691" y="124691"/>
            <a:ext cx="495992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a-DK" sz="3200" dirty="0" smtClean="0">
                <a:latin typeface="Arial" panose="020B0604020202020204" pitchFamily="34" charset="0"/>
                <a:cs typeface="Arial" panose="020B0604020202020204" pitchFamily="34" charset="0"/>
              </a:rPr>
              <a:t>POWERBI DESKTOP</a:t>
            </a:r>
            <a:endParaRPr lang="en-GB" sz="3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8643" y="652985"/>
            <a:ext cx="11336048" cy="6037588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759357" y="6242898"/>
            <a:ext cx="1314450" cy="4476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89271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440703" y="6242898"/>
            <a:ext cx="1314450" cy="447675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648" y="723320"/>
            <a:ext cx="12192000" cy="5783613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3796145" y="138545"/>
            <a:ext cx="6096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a-DK" sz="3200" dirty="0" smtClean="0">
                <a:latin typeface="Arial" panose="020B0604020202020204" pitchFamily="34" charset="0"/>
                <a:cs typeface="Arial" panose="020B0604020202020204" pitchFamily="34" charset="0"/>
              </a:rPr>
              <a:t>POWERBI SERVICE</a:t>
            </a:r>
            <a:endParaRPr lang="en-GB" sz="3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77033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7258FFF-F925-446B-8502-81C933981705}" type="slidenum">
              <a:rPr lang="en-IN" smtClean="0">
                <a:solidFill>
                  <a:srgbClr val="505050"/>
                </a:solidFill>
              </a:rPr>
              <a:pPr/>
              <a:t>4</a:t>
            </a:fld>
            <a:endParaRPr lang="en-IN">
              <a:solidFill>
                <a:srgbClr val="505050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9402" y="66089"/>
            <a:ext cx="11743360" cy="6624484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709941" y="6337926"/>
            <a:ext cx="1314450" cy="4476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16961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440703" y="6242898"/>
            <a:ext cx="1314450" cy="447675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479963" y="890443"/>
            <a:ext cx="7348075" cy="4876800"/>
          </a:xfrm>
          <a:prstGeom prst="rect">
            <a:avLst/>
          </a:prstGeom>
        </p:spPr>
      </p:pic>
      <p:sp>
        <p:nvSpPr>
          <p:cNvPr id="3" name="Rectangle 2"/>
          <p:cNvSpPr/>
          <p:nvPr/>
        </p:nvSpPr>
        <p:spPr>
          <a:xfrm>
            <a:off x="692726" y="5767243"/>
            <a:ext cx="11499274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Font typeface="Arial" panose="020B0604020202020204" pitchFamily="34" charset="0"/>
              <a:buChar char="•"/>
            </a:pPr>
            <a:r>
              <a:rPr lang="en-GB" b="1" dirty="0">
                <a:solidFill>
                  <a:srgbClr val="000000"/>
                </a:solidFill>
                <a:latin typeface="segoe-ui_bold"/>
              </a:rPr>
              <a:t>Power BI reports</a:t>
            </a:r>
            <a:r>
              <a:rPr lang="en-GB" dirty="0">
                <a:solidFill>
                  <a:srgbClr val="000000"/>
                </a:solidFill>
                <a:latin typeface="segoe-ui_normal"/>
              </a:rPr>
              <a:t> created with Power BI </a:t>
            </a:r>
            <a:r>
              <a:rPr lang="en-GB" dirty="0" smtClean="0">
                <a:solidFill>
                  <a:srgbClr val="000000"/>
                </a:solidFill>
                <a:latin typeface="segoe-ui_normal"/>
              </a:rPr>
              <a:t>Desktop in </a:t>
            </a:r>
            <a:r>
              <a:rPr lang="en-GB" dirty="0">
                <a:solidFill>
                  <a:srgbClr val="000000"/>
                </a:solidFill>
                <a:latin typeface="segoe-ui_normal"/>
              </a:rPr>
              <a:t>the web portal and the Power BI mobile apps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GB" b="1" dirty="0">
                <a:solidFill>
                  <a:srgbClr val="000000"/>
                </a:solidFill>
                <a:latin typeface="segoe-ui_bold"/>
              </a:rPr>
              <a:t>Paginated reports</a:t>
            </a:r>
            <a:r>
              <a:rPr lang="en-GB" dirty="0">
                <a:solidFill>
                  <a:srgbClr val="000000"/>
                </a:solidFill>
                <a:latin typeface="segoe-ui_normal"/>
              </a:rPr>
              <a:t> created in Report Builder: Modern-looking, fixed-layout documents optimized for printing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GB" b="1" dirty="0">
                <a:solidFill>
                  <a:srgbClr val="000000"/>
                </a:solidFill>
                <a:latin typeface="segoe-ui_bold"/>
              </a:rPr>
              <a:t>KPIs</a:t>
            </a:r>
            <a:r>
              <a:rPr lang="en-GB" dirty="0">
                <a:solidFill>
                  <a:srgbClr val="000000"/>
                </a:solidFill>
                <a:latin typeface="segoe-ui_normal"/>
              </a:rPr>
              <a:t> created right in the web portal.</a:t>
            </a:r>
            <a:endParaRPr lang="en-GB" b="0" i="0" dirty="0">
              <a:solidFill>
                <a:srgbClr val="000000"/>
              </a:solidFill>
              <a:effectLst/>
              <a:latin typeface="segoe-ui_normal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3034145" y="180109"/>
            <a:ext cx="648392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a-DK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POWERBI REPORT SERVER</a:t>
            </a:r>
            <a:endParaRPr lang="en-GB" sz="2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560171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440703" y="6242898"/>
            <a:ext cx="1314450" cy="447675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5401" y="226435"/>
            <a:ext cx="2295525" cy="3190875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038908" y="226435"/>
            <a:ext cx="5356947" cy="6531226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8873837" y="2447814"/>
            <a:ext cx="2832826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a-DK" sz="4000" dirty="0" smtClean="0">
                <a:latin typeface="Arial" panose="020B0604020202020204" pitchFamily="34" charset="0"/>
                <a:cs typeface="Arial" panose="020B0604020202020204" pitchFamily="34" charset="0"/>
              </a:rPr>
              <a:t>CREATE CONTENT PACK</a:t>
            </a:r>
            <a:endParaRPr lang="en-GB" sz="4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Oval 4"/>
          <p:cNvSpPr/>
          <p:nvPr/>
        </p:nvSpPr>
        <p:spPr>
          <a:xfrm>
            <a:off x="8611903" y="1799079"/>
            <a:ext cx="3435927" cy="3236462"/>
          </a:xfrm>
          <a:prstGeom prst="ellipse">
            <a:avLst/>
          </a:prstGeom>
          <a:noFill/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591564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7258FFF-F925-446B-8502-81C933981705}" type="slidenum">
              <a:rPr lang="en-IN" smtClean="0">
                <a:solidFill>
                  <a:srgbClr val="505050"/>
                </a:solidFill>
              </a:rPr>
              <a:pPr/>
              <a:t>42</a:t>
            </a:fld>
            <a:endParaRPr lang="en-IN">
              <a:solidFill>
                <a:srgbClr val="505050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440703" y="6242898"/>
            <a:ext cx="1314450" cy="447675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3514725" y="142875"/>
            <a:ext cx="5472113" cy="627864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lIns="182880" tIns="146304" rIns="182880" bIns="146304" rtlCol="0">
            <a:sp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da-DK" sz="2400" dirty="0" smtClea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What will you achieve with PowerBI</a:t>
            </a:r>
            <a:endParaRPr lang="en-IN" sz="2400" dirty="0" err="1" smtClean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95300" y="977910"/>
            <a:ext cx="8205788" cy="5712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21167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7258FFF-F925-446B-8502-81C933981705}" type="slidenum">
              <a:rPr lang="en-IN" smtClean="0">
                <a:solidFill>
                  <a:srgbClr val="505050"/>
                </a:solidFill>
              </a:rPr>
              <a:pPr/>
              <a:t>43</a:t>
            </a:fld>
            <a:endParaRPr lang="en-IN">
              <a:solidFill>
                <a:srgbClr val="505050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9571" y="80223"/>
            <a:ext cx="8685259" cy="6610350"/>
          </a:xfrm>
          <a:prstGeom prst="rect">
            <a:avLst/>
          </a:prstGeom>
        </p:spPr>
      </p:pic>
      <p:sp>
        <p:nvSpPr>
          <p:cNvPr id="7" name="Rectangle 6"/>
          <p:cNvSpPr/>
          <p:nvPr/>
        </p:nvSpPr>
        <p:spPr bwMode="auto">
          <a:xfrm>
            <a:off x="8794830" y="80223"/>
            <a:ext cx="3278108" cy="6610350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2400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9272588" y="1785937"/>
            <a:ext cx="2482565" cy="2034403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da-DK" sz="4000" b="1" dirty="0" smtClean="0">
                <a:solidFill>
                  <a:srgbClr val="FFC000"/>
                </a:solidFill>
              </a:rPr>
              <a:t>KEYS </a:t>
            </a:r>
          </a:p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da-DK" sz="4000" b="1" dirty="0" smtClean="0">
                <a:solidFill>
                  <a:srgbClr val="FFC000"/>
                </a:solidFill>
              </a:rPr>
              <a:t>TO SUCCESS</a:t>
            </a:r>
            <a:endParaRPr lang="en-GB" sz="4000" b="1" dirty="0" err="1" smtClean="0">
              <a:solidFill>
                <a:srgbClr val="FFC000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709941" y="6337926"/>
            <a:ext cx="1314450" cy="4476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05528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8E8E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7258FFF-F925-446B-8502-81C933981705}" type="slidenum">
              <a:rPr lang="en-IN" smtClean="0">
                <a:solidFill>
                  <a:srgbClr val="505050"/>
                </a:solidFill>
              </a:rPr>
              <a:pPr/>
              <a:t>44</a:t>
            </a:fld>
            <a:endParaRPr lang="en-IN">
              <a:solidFill>
                <a:srgbClr val="505050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440703" y="6242898"/>
            <a:ext cx="1314450" cy="447675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290512" y="139606"/>
            <a:ext cx="11901488" cy="859531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da-DK" sz="4000" dirty="0" smtClea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Bell MT" panose="02020503060305020303" pitchFamily="18" charset="0"/>
              </a:rPr>
              <a:t>#UNLEARNING IS THE WAY TO LEARNING</a:t>
            </a:r>
            <a:endParaRPr lang="en-GB" sz="4000" dirty="0" err="1" smtClean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  <a:latin typeface="Bell MT" panose="02020503060305020303" pitchFamily="18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271463" y="1585913"/>
            <a:ext cx="11651299" cy="627864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da-DK" sz="2400" dirty="0" smtClea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1. Copy Paste Data to Cobble it together.</a:t>
            </a:r>
            <a:endParaRPr lang="en-GB" sz="2400" dirty="0" err="1" smtClean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267969" y="2248891"/>
            <a:ext cx="11651299" cy="627864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da-DK" sz="2400" dirty="0" smtClea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2. Write forumlas and endless formulas.</a:t>
            </a:r>
            <a:endParaRPr lang="en-GB" sz="2400" dirty="0" err="1" smtClean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267968" y="2952068"/>
            <a:ext cx="11651299" cy="627864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da-DK" sz="2400" dirty="0" smtClea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3. Create Multiple versions of truth.</a:t>
            </a:r>
            <a:endParaRPr lang="en-GB" sz="2400" dirty="0" err="1" smtClean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267968" y="3754973"/>
            <a:ext cx="11651299" cy="627864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da-DK" sz="2400" dirty="0" smtClea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4. Spend hours trying to create effective reports.</a:t>
            </a:r>
            <a:endParaRPr lang="en-GB" sz="2400" dirty="0" err="1" smtClean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267967" y="4498197"/>
            <a:ext cx="11651299" cy="627864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da-DK" sz="2400" dirty="0" smtClea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5. Be the data-bottleneck</a:t>
            </a:r>
            <a:endParaRPr lang="en-GB" sz="2400" dirty="0" err="1" smtClean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406743" y="2133531"/>
            <a:ext cx="2651782" cy="2681083"/>
          </a:xfrm>
          <a:prstGeom prst="rect">
            <a:avLst/>
          </a:prstGeom>
        </p:spPr>
      </p:pic>
      <p:sp>
        <p:nvSpPr>
          <p:cNvPr id="11" name="TextBox 10"/>
          <p:cNvSpPr txBox="1"/>
          <p:nvPr/>
        </p:nvSpPr>
        <p:spPr>
          <a:xfrm>
            <a:off x="5472113" y="882736"/>
            <a:ext cx="2571750" cy="794064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da-DK" sz="3600" dirty="0" smtClea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POWERBI</a:t>
            </a:r>
            <a:endParaRPr lang="en-GB" sz="3600" dirty="0" err="1" smtClean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</p:spTree>
    <p:extLst>
      <p:ext uri="{BB962C8B-B14F-4D97-AF65-F5344CB8AC3E}">
        <p14:creationId xmlns:p14="http://schemas.microsoft.com/office/powerpoint/2010/main" val="13142787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2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3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4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6" grpId="0"/>
      <p:bldP spid="7" grpId="0"/>
      <p:bldP spid="8" grpId="0"/>
      <p:bldP spid="9" grpId="0"/>
    </p:bld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EEEE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7258FFF-F925-446B-8502-81C933981705}" type="slidenum">
              <a:rPr lang="en-IN" smtClean="0">
                <a:solidFill>
                  <a:srgbClr val="505050"/>
                </a:solidFill>
              </a:rPr>
              <a:pPr/>
              <a:t>45</a:t>
            </a:fld>
            <a:endParaRPr lang="en-IN">
              <a:solidFill>
                <a:srgbClr val="505050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440703" y="6242898"/>
            <a:ext cx="1314450" cy="447675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485775" y="442913"/>
            <a:ext cx="11269378" cy="1695849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da-DK" sz="6600" dirty="0" smtClea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HOW CAN WE LEARN</a:t>
            </a:r>
          </a:p>
          <a:p>
            <a:pPr>
              <a:lnSpc>
                <a:spcPct val="90000"/>
              </a:lnSpc>
              <a:spcAft>
                <a:spcPts val="600"/>
              </a:spcAft>
            </a:pPr>
            <a:endParaRPr lang="da-DK" sz="2400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3596991" y="3529647"/>
            <a:ext cx="7500937" cy="16850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da-DK" sz="11500" dirty="0">
                <a:solidFill>
                  <a:srgbClr val="FFC000"/>
                </a:solidFill>
                <a:latin typeface="Berlin Sans FB" panose="020E0602020502020306" pitchFamily="34" charset="0"/>
              </a:rPr>
              <a:t>POWERBI</a:t>
            </a:r>
            <a:endParaRPr lang="en-GB" sz="11500" dirty="0" err="1">
              <a:solidFill>
                <a:srgbClr val="FFC000"/>
              </a:solidFill>
              <a:latin typeface="Berlin Sans FB" panose="020E0602020502020306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429112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7258FFF-F925-446B-8502-81C933981705}" type="slidenum">
              <a:rPr lang="en-GB" smtClean="0">
                <a:solidFill>
                  <a:srgbClr val="505050"/>
                </a:solidFill>
              </a:rPr>
              <a:pPr/>
              <a:t>46</a:t>
            </a:fld>
            <a:endParaRPr lang="en-GB">
              <a:solidFill>
                <a:srgbClr val="505050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8589" y="143407"/>
            <a:ext cx="11901486" cy="6589643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440703" y="6242898"/>
            <a:ext cx="1314450" cy="4476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35561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7258FFF-F925-446B-8502-81C933981705}" type="slidenum">
              <a:rPr lang="en-IN" smtClean="0">
                <a:solidFill>
                  <a:srgbClr val="505050"/>
                </a:solidFill>
              </a:rPr>
              <a:pPr/>
              <a:t>47</a:t>
            </a:fld>
            <a:endParaRPr lang="en-IN">
              <a:solidFill>
                <a:srgbClr val="505050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440703" y="6242898"/>
            <a:ext cx="1314450" cy="447675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8328" y="128747"/>
            <a:ext cx="11196825" cy="52576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94071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5922820" y="262647"/>
            <a:ext cx="6269180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dirty="0"/>
          </a:p>
          <a:p>
            <a:r>
              <a:rPr lang="en-US" dirty="0"/>
              <a:t>Get Power BI (Free) </a:t>
            </a:r>
            <a:r>
              <a:rPr lang="en-US" dirty="0" smtClean="0"/>
              <a:t>         </a:t>
            </a:r>
            <a:r>
              <a:rPr lang="en-US" dirty="0" smtClean="0">
                <a:hlinkClick r:id="rId2"/>
              </a:rPr>
              <a:t>http</a:t>
            </a:r>
            <a:r>
              <a:rPr lang="en-US" dirty="0">
                <a:hlinkClick r:id="rId2"/>
              </a:rPr>
              <a:t>://</a:t>
            </a:r>
            <a:r>
              <a:rPr lang="en-US" dirty="0" smtClean="0">
                <a:hlinkClick r:id="rId2"/>
              </a:rPr>
              <a:t>tinyurl.com/hj5hdg6</a:t>
            </a:r>
            <a:r>
              <a:rPr lang="en-US" dirty="0" smtClean="0"/>
              <a:t> </a:t>
            </a:r>
          </a:p>
          <a:p>
            <a:endParaRPr lang="en-US" dirty="0"/>
          </a:p>
          <a:p>
            <a:r>
              <a:rPr lang="en-US" dirty="0" smtClean="0"/>
              <a:t>Power BI Jump Start         </a:t>
            </a:r>
            <a:r>
              <a:rPr lang="en-US" dirty="0" smtClean="0">
                <a:hlinkClick r:id="rId3"/>
              </a:rPr>
              <a:t>http://bit.ly/1ktON16</a:t>
            </a:r>
            <a:r>
              <a:rPr lang="en-US" dirty="0" smtClean="0"/>
              <a:t> </a:t>
            </a:r>
          </a:p>
          <a:p>
            <a:endParaRPr lang="en-US" dirty="0"/>
          </a:p>
          <a:p>
            <a:r>
              <a:rPr lang="en-US" dirty="0" smtClean="0"/>
              <a:t>Power BI Getting Started </a:t>
            </a:r>
            <a:r>
              <a:rPr lang="en-US" dirty="0" smtClean="0">
                <a:hlinkClick r:id="rId4"/>
              </a:rPr>
              <a:t>http://bit.ly/1FF88KA</a:t>
            </a:r>
            <a:r>
              <a:rPr lang="en-US" dirty="0" smtClean="0"/>
              <a:t> </a:t>
            </a:r>
          </a:p>
          <a:p>
            <a:endParaRPr lang="en-US" dirty="0"/>
          </a:p>
          <a:p>
            <a:r>
              <a:rPr lang="en-US" dirty="0" smtClean="0"/>
              <a:t>Power BI Team Blog          </a:t>
            </a:r>
            <a:r>
              <a:rPr lang="en-US" dirty="0" smtClean="0">
                <a:hlinkClick r:id="rId5"/>
              </a:rPr>
              <a:t>http://bit.ly/1vwbTLG</a:t>
            </a:r>
            <a:r>
              <a:rPr lang="en-US" dirty="0" smtClean="0"/>
              <a:t> </a:t>
            </a:r>
          </a:p>
          <a:p>
            <a:endParaRPr lang="en-US" dirty="0"/>
          </a:p>
          <a:p>
            <a:r>
              <a:rPr lang="en-US" dirty="0" smtClean="0"/>
              <a:t>Power BI Channel 9          </a:t>
            </a:r>
            <a:r>
              <a:rPr lang="en-US" dirty="0" smtClean="0">
                <a:hlinkClick r:id="rId6"/>
              </a:rPr>
              <a:t>http://bit.ly/1a9Q0gv</a:t>
            </a:r>
            <a:r>
              <a:rPr lang="en-US" dirty="0" smtClean="0"/>
              <a:t> </a:t>
            </a:r>
          </a:p>
          <a:p>
            <a:endParaRPr lang="en-US" dirty="0"/>
          </a:p>
          <a:p>
            <a:r>
              <a:rPr lang="en-US" dirty="0"/>
              <a:t>Power BI                             </a:t>
            </a:r>
            <a:r>
              <a:rPr lang="en-US" dirty="0">
                <a:hlinkClick r:id="rId7"/>
              </a:rPr>
              <a:t>https://</a:t>
            </a:r>
            <a:r>
              <a:rPr lang="en-US" dirty="0" smtClean="0">
                <a:hlinkClick r:id="rId7"/>
              </a:rPr>
              <a:t>powerbi.microsoft.com</a:t>
            </a:r>
            <a:r>
              <a:rPr lang="en-US" dirty="0" smtClean="0"/>
              <a:t> </a:t>
            </a:r>
          </a:p>
          <a:p>
            <a:endParaRPr lang="en-US" dirty="0" smtClean="0"/>
          </a:p>
          <a:p>
            <a:endParaRPr lang="en-US" dirty="0" smtClean="0"/>
          </a:p>
        </p:txBody>
      </p:sp>
      <p:sp>
        <p:nvSpPr>
          <p:cNvPr id="5" name="TextBox 4"/>
          <p:cNvSpPr txBox="1"/>
          <p:nvPr/>
        </p:nvSpPr>
        <p:spPr>
          <a:xfrm>
            <a:off x="359923" y="262647"/>
            <a:ext cx="11167353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000" dirty="0" smtClean="0">
                <a:latin typeface="Bodoni MT" panose="02070603080606020203" pitchFamily="18" charset="0"/>
              </a:rPr>
              <a:t>Resources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9923" y="1419225"/>
            <a:ext cx="1933575" cy="2362200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81312" y="1419225"/>
            <a:ext cx="1919288" cy="2387174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1549" y="4057651"/>
            <a:ext cx="2400300" cy="240030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2934585" y="4057651"/>
            <a:ext cx="1866015" cy="25003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8027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3"/>
          <a:srcRect b="2728"/>
          <a:stretch/>
        </p:blipFill>
        <p:spPr>
          <a:xfrm>
            <a:off x="1" y="1396532"/>
            <a:ext cx="12192000" cy="5460982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ankyou for Coming to </a:t>
            </a:r>
            <a:r>
              <a:rPr lang="en-US" dirty="0" err="1" smtClean="0"/>
              <a:t>PowerBI</a:t>
            </a:r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2423196" y="4500603"/>
            <a:ext cx="3928070" cy="950438"/>
          </a:xfrm>
          <a:prstGeom prst="rect">
            <a:avLst/>
          </a:prstGeom>
          <a:solidFill>
            <a:srgbClr val="F2C812"/>
          </a:solidFill>
        </p:spPr>
        <p:txBody>
          <a:bodyPr wrap="square" lIns="0" rIns="0" bIns="179285">
            <a:spAutoFit/>
          </a:bodyPr>
          <a:lstStyle/>
          <a:p>
            <a:pPr marL="448193" defTabSz="914367"/>
            <a:r>
              <a:rPr lang="en-US" sz="1568" dirty="0">
                <a:solidFill>
                  <a:srgbClr val="000000"/>
                </a:solidFill>
                <a:latin typeface="Segoe UI Light"/>
              </a:rPr>
              <a:t>Sign up for a free Preview account </a:t>
            </a:r>
            <a:br>
              <a:rPr lang="en-US" sz="1568" dirty="0">
                <a:solidFill>
                  <a:srgbClr val="000000"/>
                </a:solidFill>
                <a:latin typeface="Segoe UI Light"/>
              </a:rPr>
            </a:br>
            <a:endParaRPr lang="en-US" sz="1568" dirty="0">
              <a:solidFill>
                <a:srgbClr val="000000"/>
              </a:solidFill>
              <a:latin typeface="Segoe UI Light"/>
            </a:endParaRPr>
          </a:p>
          <a:p>
            <a:pPr marL="448193" defTabSz="914367"/>
            <a:r>
              <a:rPr lang="en-US" sz="1568" dirty="0">
                <a:solidFill>
                  <a:srgbClr val="000000"/>
                </a:solidFill>
                <a:latin typeface="Segoe UI Light"/>
              </a:rPr>
              <a:t>Take the Power BI Tour</a:t>
            </a:r>
          </a:p>
        </p:txBody>
      </p:sp>
      <p:sp>
        <p:nvSpPr>
          <p:cNvPr id="8" name="Freeform 8"/>
          <p:cNvSpPr>
            <a:spLocks noEditPoints="1"/>
          </p:cNvSpPr>
          <p:nvPr/>
        </p:nvSpPr>
        <p:spPr bwMode="black">
          <a:xfrm rot="5400000">
            <a:off x="2508132" y="4545521"/>
            <a:ext cx="268927" cy="268927"/>
          </a:xfrm>
          <a:custGeom>
            <a:avLst/>
            <a:gdLst>
              <a:gd name="T0" fmla="*/ 68 w 150"/>
              <a:gd name="T1" fmla="*/ 61 h 149"/>
              <a:gd name="T2" fmla="*/ 46 w 150"/>
              <a:gd name="T3" fmla="*/ 84 h 149"/>
              <a:gd name="T4" fmla="*/ 46 w 150"/>
              <a:gd name="T5" fmla="*/ 65 h 149"/>
              <a:gd name="T6" fmla="*/ 75 w 150"/>
              <a:gd name="T7" fmla="*/ 34 h 149"/>
              <a:gd name="T8" fmla="*/ 104 w 150"/>
              <a:gd name="T9" fmla="*/ 65 h 149"/>
              <a:gd name="T10" fmla="*/ 104 w 150"/>
              <a:gd name="T11" fmla="*/ 84 h 149"/>
              <a:gd name="T12" fmla="*/ 82 w 150"/>
              <a:gd name="T13" fmla="*/ 61 h 149"/>
              <a:gd name="T14" fmla="*/ 82 w 150"/>
              <a:gd name="T15" fmla="*/ 113 h 149"/>
              <a:gd name="T16" fmla="*/ 68 w 150"/>
              <a:gd name="T17" fmla="*/ 113 h 149"/>
              <a:gd name="T18" fmla="*/ 68 w 150"/>
              <a:gd name="T19" fmla="*/ 61 h 149"/>
              <a:gd name="T20" fmla="*/ 10 w 150"/>
              <a:gd name="T21" fmla="*/ 75 h 149"/>
              <a:gd name="T22" fmla="*/ 75 w 150"/>
              <a:gd name="T23" fmla="*/ 9 h 149"/>
              <a:gd name="T24" fmla="*/ 140 w 150"/>
              <a:gd name="T25" fmla="*/ 75 h 149"/>
              <a:gd name="T26" fmla="*/ 75 w 150"/>
              <a:gd name="T27" fmla="*/ 140 h 149"/>
              <a:gd name="T28" fmla="*/ 10 w 150"/>
              <a:gd name="T29" fmla="*/ 75 h 149"/>
              <a:gd name="T30" fmla="*/ 0 w 150"/>
              <a:gd name="T31" fmla="*/ 75 h 149"/>
              <a:gd name="T32" fmla="*/ 75 w 150"/>
              <a:gd name="T33" fmla="*/ 149 h 149"/>
              <a:gd name="T34" fmla="*/ 150 w 150"/>
              <a:gd name="T35" fmla="*/ 75 h 149"/>
              <a:gd name="T36" fmla="*/ 75 w 150"/>
              <a:gd name="T37" fmla="*/ 0 h 149"/>
              <a:gd name="T38" fmla="*/ 0 w 150"/>
              <a:gd name="T39" fmla="*/ 75 h 1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150" h="149">
                <a:moveTo>
                  <a:pt x="68" y="61"/>
                </a:moveTo>
                <a:cubicBezTo>
                  <a:pt x="46" y="84"/>
                  <a:pt x="46" y="84"/>
                  <a:pt x="46" y="84"/>
                </a:cubicBezTo>
                <a:cubicBezTo>
                  <a:pt x="46" y="65"/>
                  <a:pt x="46" y="65"/>
                  <a:pt x="46" y="65"/>
                </a:cubicBezTo>
                <a:cubicBezTo>
                  <a:pt x="75" y="34"/>
                  <a:pt x="75" y="34"/>
                  <a:pt x="75" y="34"/>
                </a:cubicBezTo>
                <a:cubicBezTo>
                  <a:pt x="104" y="65"/>
                  <a:pt x="104" y="65"/>
                  <a:pt x="104" y="65"/>
                </a:cubicBezTo>
                <a:cubicBezTo>
                  <a:pt x="104" y="84"/>
                  <a:pt x="104" y="84"/>
                  <a:pt x="104" y="84"/>
                </a:cubicBezTo>
                <a:cubicBezTo>
                  <a:pt x="82" y="61"/>
                  <a:pt x="82" y="61"/>
                  <a:pt x="82" y="61"/>
                </a:cubicBezTo>
                <a:cubicBezTo>
                  <a:pt x="82" y="113"/>
                  <a:pt x="82" y="113"/>
                  <a:pt x="82" y="113"/>
                </a:cubicBezTo>
                <a:cubicBezTo>
                  <a:pt x="68" y="113"/>
                  <a:pt x="68" y="113"/>
                  <a:pt x="68" y="113"/>
                </a:cubicBezTo>
                <a:lnTo>
                  <a:pt x="68" y="61"/>
                </a:lnTo>
                <a:close/>
                <a:moveTo>
                  <a:pt x="10" y="75"/>
                </a:moveTo>
                <a:cubicBezTo>
                  <a:pt x="10" y="39"/>
                  <a:pt x="39" y="9"/>
                  <a:pt x="75" y="9"/>
                </a:cubicBezTo>
                <a:cubicBezTo>
                  <a:pt x="111" y="9"/>
                  <a:pt x="140" y="39"/>
                  <a:pt x="140" y="75"/>
                </a:cubicBezTo>
                <a:cubicBezTo>
                  <a:pt x="140" y="111"/>
                  <a:pt x="111" y="140"/>
                  <a:pt x="75" y="140"/>
                </a:cubicBezTo>
                <a:cubicBezTo>
                  <a:pt x="39" y="140"/>
                  <a:pt x="10" y="111"/>
                  <a:pt x="10" y="75"/>
                </a:cubicBezTo>
                <a:moveTo>
                  <a:pt x="0" y="75"/>
                </a:moveTo>
                <a:cubicBezTo>
                  <a:pt x="0" y="116"/>
                  <a:pt x="34" y="149"/>
                  <a:pt x="75" y="149"/>
                </a:cubicBezTo>
                <a:cubicBezTo>
                  <a:pt x="116" y="149"/>
                  <a:pt x="150" y="116"/>
                  <a:pt x="150" y="75"/>
                </a:cubicBezTo>
                <a:cubicBezTo>
                  <a:pt x="150" y="33"/>
                  <a:pt x="116" y="0"/>
                  <a:pt x="75" y="0"/>
                </a:cubicBezTo>
                <a:cubicBezTo>
                  <a:pt x="34" y="0"/>
                  <a:pt x="0" y="33"/>
                  <a:pt x="0" y="75"/>
                </a:cubicBezTo>
              </a:path>
            </a:pathLst>
          </a:custGeom>
          <a:solidFill>
            <a:schemeClr val="bg1"/>
          </a:solidFill>
          <a:ln>
            <a:noFill/>
          </a:ln>
          <a:extLst/>
        </p:spPr>
        <p:txBody>
          <a:bodyPr vert="horz" wrap="square" lIns="89630" tIns="44814" rIns="89630" bIns="44814" numCol="1" anchor="t" anchorCtr="0" compatLnSpc="1">
            <a:prstTxWarp prst="textNoShape">
              <a:avLst/>
            </a:prstTxWarp>
          </a:bodyPr>
          <a:lstStyle/>
          <a:p>
            <a:pPr defTabSz="914367"/>
            <a:endParaRPr lang="en-US" sz="1765" dirty="0">
              <a:ln>
                <a:solidFill>
                  <a:srgbClr val="FFFFFF">
                    <a:alpha val="0"/>
                  </a:srgbClr>
                </a:solidFill>
              </a:ln>
              <a:solidFill>
                <a:srgbClr val="000000"/>
              </a:solidFill>
            </a:endParaRPr>
          </a:p>
        </p:txBody>
      </p:sp>
      <p:sp>
        <p:nvSpPr>
          <p:cNvPr id="12" name="Freeform 8"/>
          <p:cNvSpPr>
            <a:spLocks noEditPoints="1"/>
          </p:cNvSpPr>
          <p:nvPr/>
        </p:nvSpPr>
        <p:spPr bwMode="black">
          <a:xfrm rot="5400000">
            <a:off x="2508132" y="4998281"/>
            <a:ext cx="268927" cy="268927"/>
          </a:xfrm>
          <a:custGeom>
            <a:avLst/>
            <a:gdLst>
              <a:gd name="T0" fmla="*/ 68 w 150"/>
              <a:gd name="T1" fmla="*/ 61 h 149"/>
              <a:gd name="T2" fmla="*/ 46 w 150"/>
              <a:gd name="T3" fmla="*/ 84 h 149"/>
              <a:gd name="T4" fmla="*/ 46 w 150"/>
              <a:gd name="T5" fmla="*/ 65 h 149"/>
              <a:gd name="T6" fmla="*/ 75 w 150"/>
              <a:gd name="T7" fmla="*/ 34 h 149"/>
              <a:gd name="T8" fmla="*/ 104 w 150"/>
              <a:gd name="T9" fmla="*/ 65 h 149"/>
              <a:gd name="T10" fmla="*/ 104 w 150"/>
              <a:gd name="T11" fmla="*/ 84 h 149"/>
              <a:gd name="T12" fmla="*/ 82 w 150"/>
              <a:gd name="T13" fmla="*/ 61 h 149"/>
              <a:gd name="T14" fmla="*/ 82 w 150"/>
              <a:gd name="T15" fmla="*/ 113 h 149"/>
              <a:gd name="T16" fmla="*/ 68 w 150"/>
              <a:gd name="T17" fmla="*/ 113 h 149"/>
              <a:gd name="T18" fmla="*/ 68 w 150"/>
              <a:gd name="T19" fmla="*/ 61 h 149"/>
              <a:gd name="T20" fmla="*/ 10 w 150"/>
              <a:gd name="T21" fmla="*/ 75 h 149"/>
              <a:gd name="T22" fmla="*/ 75 w 150"/>
              <a:gd name="T23" fmla="*/ 9 h 149"/>
              <a:gd name="T24" fmla="*/ 140 w 150"/>
              <a:gd name="T25" fmla="*/ 75 h 149"/>
              <a:gd name="T26" fmla="*/ 75 w 150"/>
              <a:gd name="T27" fmla="*/ 140 h 149"/>
              <a:gd name="T28" fmla="*/ 10 w 150"/>
              <a:gd name="T29" fmla="*/ 75 h 149"/>
              <a:gd name="T30" fmla="*/ 0 w 150"/>
              <a:gd name="T31" fmla="*/ 75 h 149"/>
              <a:gd name="T32" fmla="*/ 75 w 150"/>
              <a:gd name="T33" fmla="*/ 149 h 149"/>
              <a:gd name="T34" fmla="*/ 150 w 150"/>
              <a:gd name="T35" fmla="*/ 75 h 149"/>
              <a:gd name="T36" fmla="*/ 75 w 150"/>
              <a:gd name="T37" fmla="*/ 0 h 149"/>
              <a:gd name="T38" fmla="*/ 0 w 150"/>
              <a:gd name="T39" fmla="*/ 75 h 1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150" h="149">
                <a:moveTo>
                  <a:pt x="68" y="61"/>
                </a:moveTo>
                <a:cubicBezTo>
                  <a:pt x="46" y="84"/>
                  <a:pt x="46" y="84"/>
                  <a:pt x="46" y="84"/>
                </a:cubicBezTo>
                <a:cubicBezTo>
                  <a:pt x="46" y="65"/>
                  <a:pt x="46" y="65"/>
                  <a:pt x="46" y="65"/>
                </a:cubicBezTo>
                <a:cubicBezTo>
                  <a:pt x="75" y="34"/>
                  <a:pt x="75" y="34"/>
                  <a:pt x="75" y="34"/>
                </a:cubicBezTo>
                <a:cubicBezTo>
                  <a:pt x="104" y="65"/>
                  <a:pt x="104" y="65"/>
                  <a:pt x="104" y="65"/>
                </a:cubicBezTo>
                <a:cubicBezTo>
                  <a:pt x="104" y="84"/>
                  <a:pt x="104" y="84"/>
                  <a:pt x="104" y="84"/>
                </a:cubicBezTo>
                <a:cubicBezTo>
                  <a:pt x="82" y="61"/>
                  <a:pt x="82" y="61"/>
                  <a:pt x="82" y="61"/>
                </a:cubicBezTo>
                <a:cubicBezTo>
                  <a:pt x="82" y="113"/>
                  <a:pt x="82" y="113"/>
                  <a:pt x="82" y="113"/>
                </a:cubicBezTo>
                <a:cubicBezTo>
                  <a:pt x="68" y="113"/>
                  <a:pt x="68" y="113"/>
                  <a:pt x="68" y="113"/>
                </a:cubicBezTo>
                <a:lnTo>
                  <a:pt x="68" y="61"/>
                </a:lnTo>
                <a:close/>
                <a:moveTo>
                  <a:pt x="10" y="75"/>
                </a:moveTo>
                <a:cubicBezTo>
                  <a:pt x="10" y="39"/>
                  <a:pt x="39" y="9"/>
                  <a:pt x="75" y="9"/>
                </a:cubicBezTo>
                <a:cubicBezTo>
                  <a:pt x="111" y="9"/>
                  <a:pt x="140" y="39"/>
                  <a:pt x="140" y="75"/>
                </a:cubicBezTo>
                <a:cubicBezTo>
                  <a:pt x="140" y="111"/>
                  <a:pt x="111" y="140"/>
                  <a:pt x="75" y="140"/>
                </a:cubicBezTo>
                <a:cubicBezTo>
                  <a:pt x="39" y="140"/>
                  <a:pt x="10" y="111"/>
                  <a:pt x="10" y="75"/>
                </a:cubicBezTo>
                <a:moveTo>
                  <a:pt x="0" y="75"/>
                </a:moveTo>
                <a:cubicBezTo>
                  <a:pt x="0" y="116"/>
                  <a:pt x="34" y="149"/>
                  <a:pt x="75" y="149"/>
                </a:cubicBezTo>
                <a:cubicBezTo>
                  <a:pt x="116" y="149"/>
                  <a:pt x="150" y="116"/>
                  <a:pt x="150" y="75"/>
                </a:cubicBezTo>
                <a:cubicBezTo>
                  <a:pt x="150" y="33"/>
                  <a:pt x="116" y="0"/>
                  <a:pt x="75" y="0"/>
                </a:cubicBezTo>
                <a:cubicBezTo>
                  <a:pt x="34" y="0"/>
                  <a:pt x="0" y="33"/>
                  <a:pt x="0" y="75"/>
                </a:cubicBezTo>
              </a:path>
            </a:pathLst>
          </a:custGeom>
          <a:solidFill>
            <a:schemeClr val="bg1"/>
          </a:solidFill>
          <a:ln>
            <a:noFill/>
          </a:ln>
          <a:extLst/>
        </p:spPr>
        <p:txBody>
          <a:bodyPr vert="horz" wrap="square" lIns="89630" tIns="44814" rIns="89630" bIns="44814" numCol="1" anchor="t" anchorCtr="0" compatLnSpc="1">
            <a:prstTxWarp prst="textNoShape">
              <a:avLst/>
            </a:prstTxWarp>
          </a:bodyPr>
          <a:lstStyle/>
          <a:p>
            <a:pPr defTabSz="914367"/>
            <a:endParaRPr lang="en-US" sz="1765" dirty="0">
              <a:ln>
                <a:solidFill>
                  <a:srgbClr val="FFFFFF">
                    <a:alpha val="0"/>
                  </a:srgbClr>
                </a:solidFill>
              </a:ln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17699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7258FFF-F925-446B-8502-81C933981705}" type="slidenum">
              <a:rPr lang="en-IN" smtClean="0">
                <a:solidFill>
                  <a:srgbClr val="505050"/>
                </a:solidFill>
              </a:rPr>
              <a:pPr/>
              <a:t>5</a:t>
            </a:fld>
            <a:endParaRPr lang="en-IN" dirty="0">
              <a:solidFill>
                <a:srgbClr val="505050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440703" y="6242898"/>
            <a:ext cx="1314450" cy="447675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285750" y="385763"/>
            <a:ext cx="11765599" cy="5324535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da-DK" sz="8800" dirty="0" smtClea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Arial" panose="020B0604020202020204" pitchFamily="34" charset="0"/>
                <a:cs typeface="Arial" panose="020B0604020202020204" pitchFamily="34" charset="0"/>
              </a:rPr>
              <a:t>STAGES OF</a:t>
            </a:r>
          </a:p>
          <a:p>
            <a:pPr>
              <a:lnSpc>
                <a:spcPct val="90000"/>
              </a:lnSpc>
              <a:spcAft>
                <a:spcPts val="600"/>
              </a:spcAft>
            </a:pPr>
            <a:endParaRPr lang="da-DK" sz="8800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da-DK" sz="8800" dirty="0" smtClean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USINESS INTELLIGENCE</a:t>
            </a:r>
            <a:endParaRPr lang="en-GB" sz="8800" dirty="0" err="1" smtClean="0">
              <a:solidFill>
                <a:srgbClr val="FFC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877462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250"/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159488" y="25246"/>
            <a:ext cx="118872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dirty="0">
                <a:latin typeface="+mj-lt"/>
              </a:rPr>
              <a:t>Today, </a:t>
            </a:r>
            <a:r>
              <a:rPr lang="en-US" sz="3600" dirty="0" smtClean="0">
                <a:latin typeface="+mj-lt"/>
              </a:rPr>
              <a:t>SSBI </a:t>
            </a:r>
            <a:r>
              <a:rPr lang="en-US" sz="3600" dirty="0">
                <a:latin typeface="+mj-lt"/>
              </a:rPr>
              <a:t>extends to everyone</a:t>
            </a:r>
            <a:endParaRPr lang="en-US" sz="3600" dirty="0" smtClean="0">
              <a:latin typeface="+mj-lt"/>
              <a:cs typeface="Segoe UI" panose="020B0502040204020203" pitchFamily="34" charset="0"/>
            </a:endParaRPr>
          </a:p>
        </p:txBody>
      </p:sp>
      <p:sp>
        <p:nvSpPr>
          <p:cNvPr id="11" name="Flowchart: Document 3"/>
          <p:cNvSpPr/>
          <p:nvPr/>
        </p:nvSpPr>
        <p:spPr bwMode="auto">
          <a:xfrm flipH="1" flipV="1">
            <a:off x="0" y="1448851"/>
            <a:ext cx="12192000" cy="5849640"/>
          </a:xfrm>
          <a:custGeom>
            <a:avLst/>
            <a:gdLst>
              <a:gd name="connsiteX0" fmla="*/ 0 w 21600"/>
              <a:gd name="connsiteY0" fmla="*/ 0 h 21600"/>
              <a:gd name="connsiteX1" fmla="*/ 21600 w 21600"/>
              <a:gd name="connsiteY1" fmla="*/ 0 h 21600"/>
              <a:gd name="connsiteX2" fmla="*/ 21600 w 21600"/>
              <a:gd name="connsiteY2" fmla="*/ 17322 h 21600"/>
              <a:gd name="connsiteX3" fmla="*/ 0 w 21600"/>
              <a:gd name="connsiteY3" fmla="*/ 20172 h 21600"/>
              <a:gd name="connsiteX4" fmla="*/ 0 w 21600"/>
              <a:gd name="connsiteY4" fmla="*/ 0 h 21600"/>
              <a:gd name="connsiteX0" fmla="*/ 0 w 21600"/>
              <a:gd name="connsiteY0" fmla="*/ 1667 h 22237"/>
              <a:gd name="connsiteX1" fmla="*/ 21600 w 21600"/>
              <a:gd name="connsiteY1" fmla="*/ 1667 h 22237"/>
              <a:gd name="connsiteX2" fmla="*/ 21578 w 21600"/>
              <a:gd name="connsiteY2" fmla="*/ 1666 h 22237"/>
              <a:gd name="connsiteX3" fmla="*/ 0 w 21600"/>
              <a:gd name="connsiteY3" fmla="*/ 21839 h 22237"/>
              <a:gd name="connsiteX4" fmla="*/ 0 w 21600"/>
              <a:gd name="connsiteY4" fmla="*/ 1667 h 22237"/>
              <a:gd name="connsiteX0" fmla="*/ 0 w 21600"/>
              <a:gd name="connsiteY0" fmla="*/ 1708 h 22278"/>
              <a:gd name="connsiteX1" fmla="*/ 21600 w 21600"/>
              <a:gd name="connsiteY1" fmla="*/ 1708 h 22278"/>
              <a:gd name="connsiteX2" fmla="*/ 21578 w 21600"/>
              <a:gd name="connsiteY2" fmla="*/ 1661 h 22278"/>
              <a:gd name="connsiteX3" fmla="*/ 0 w 21600"/>
              <a:gd name="connsiteY3" fmla="*/ 21880 h 22278"/>
              <a:gd name="connsiteX4" fmla="*/ 0 w 21600"/>
              <a:gd name="connsiteY4" fmla="*/ 1708 h 22278"/>
              <a:gd name="connsiteX0" fmla="*/ 0 w 21600"/>
              <a:gd name="connsiteY0" fmla="*/ 1668 h 22238"/>
              <a:gd name="connsiteX1" fmla="*/ 21600 w 21600"/>
              <a:gd name="connsiteY1" fmla="*/ 1668 h 22238"/>
              <a:gd name="connsiteX2" fmla="*/ 21578 w 21600"/>
              <a:gd name="connsiteY2" fmla="*/ 1667 h 22238"/>
              <a:gd name="connsiteX3" fmla="*/ 0 w 21600"/>
              <a:gd name="connsiteY3" fmla="*/ 21840 h 22238"/>
              <a:gd name="connsiteX4" fmla="*/ 0 w 21600"/>
              <a:gd name="connsiteY4" fmla="*/ 1668 h 22238"/>
              <a:gd name="connsiteX0" fmla="*/ 0 w 21600"/>
              <a:gd name="connsiteY0" fmla="*/ 1668 h 22238"/>
              <a:gd name="connsiteX1" fmla="*/ 21600 w 21600"/>
              <a:gd name="connsiteY1" fmla="*/ 1668 h 22238"/>
              <a:gd name="connsiteX2" fmla="*/ 21588 w 21600"/>
              <a:gd name="connsiteY2" fmla="*/ 1667 h 22238"/>
              <a:gd name="connsiteX3" fmla="*/ 0 w 21600"/>
              <a:gd name="connsiteY3" fmla="*/ 21840 h 22238"/>
              <a:gd name="connsiteX4" fmla="*/ 0 w 21600"/>
              <a:gd name="connsiteY4" fmla="*/ 1668 h 22238"/>
              <a:gd name="connsiteX0" fmla="*/ 0 w 21607"/>
              <a:gd name="connsiteY0" fmla="*/ 1648 h 22219"/>
              <a:gd name="connsiteX1" fmla="*/ 21600 w 21607"/>
              <a:gd name="connsiteY1" fmla="*/ 1648 h 22219"/>
              <a:gd name="connsiteX2" fmla="*/ 21607 w 21607"/>
              <a:gd name="connsiteY2" fmla="*/ 1670 h 22219"/>
              <a:gd name="connsiteX3" fmla="*/ 0 w 21607"/>
              <a:gd name="connsiteY3" fmla="*/ 21820 h 22219"/>
              <a:gd name="connsiteX4" fmla="*/ 0 w 21607"/>
              <a:gd name="connsiteY4" fmla="*/ 1648 h 22219"/>
              <a:gd name="connsiteX0" fmla="*/ 0 w 21600"/>
              <a:gd name="connsiteY0" fmla="*/ 1648 h 22219"/>
              <a:gd name="connsiteX1" fmla="*/ 21600 w 21600"/>
              <a:gd name="connsiteY1" fmla="*/ 1648 h 22219"/>
              <a:gd name="connsiteX2" fmla="*/ 21597 w 21600"/>
              <a:gd name="connsiteY2" fmla="*/ 1670 h 22219"/>
              <a:gd name="connsiteX3" fmla="*/ 0 w 21600"/>
              <a:gd name="connsiteY3" fmla="*/ 21820 h 22219"/>
              <a:gd name="connsiteX4" fmla="*/ 0 w 21600"/>
              <a:gd name="connsiteY4" fmla="*/ 1648 h 222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600" h="22219">
                <a:moveTo>
                  <a:pt x="0" y="1648"/>
                </a:moveTo>
                <a:lnTo>
                  <a:pt x="21600" y="1648"/>
                </a:lnTo>
                <a:cubicBezTo>
                  <a:pt x="21600" y="7422"/>
                  <a:pt x="21597" y="-4104"/>
                  <a:pt x="21597" y="1670"/>
                </a:cubicBezTo>
                <a:cubicBezTo>
                  <a:pt x="10797" y="1670"/>
                  <a:pt x="10800" y="25570"/>
                  <a:pt x="0" y="21820"/>
                </a:cubicBezTo>
                <a:lnTo>
                  <a:pt x="0" y="1648"/>
                </a:lnTo>
                <a:close/>
              </a:path>
            </a:pathLst>
          </a:cu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2" name="Flowchart: Document 3"/>
          <p:cNvSpPr/>
          <p:nvPr/>
        </p:nvSpPr>
        <p:spPr bwMode="auto">
          <a:xfrm flipH="1" flipV="1">
            <a:off x="0" y="2965567"/>
            <a:ext cx="12192000" cy="4214163"/>
          </a:xfrm>
          <a:custGeom>
            <a:avLst/>
            <a:gdLst>
              <a:gd name="connsiteX0" fmla="*/ 0 w 21600"/>
              <a:gd name="connsiteY0" fmla="*/ 0 h 21600"/>
              <a:gd name="connsiteX1" fmla="*/ 21600 w 21600"/>
              <a:gd name="connsiteY1" fmla="*/ 0 h 21600"/>
              <a:gd name="connsiteX2" fmla="*/ 21600 w 21600"/>
              <a:gd name="connsiteY2" fmla="*/ 17322 h 21600"/>
              <a:gd name="connsiteX3" fmla="*/ 0 w 21600"/>
              <a:gd name="connsiteY3" fmla="*/ 20172 h 21600"/>
              <a:gd name="connsiteX4" fmla="*/ 0 w 21600"/>
              <a:gd name="connsiteY4" fmla="*/ 0 h 21600"/>
              <a:gd name="connsiteX0" fmla="*/ 0 w 21600"/>
              <a:gd name="connsiteY0" fmla="*/ 1667 h 22237"/>
              <a:gd name="connsiteX1" fmla="*/ 21600 w 21600"/>
              <a:gd name="connsiteY1" fmla="*/ 1667 h 22237"/>
              <a:gd name="connsiteX2" fmla="*/ 21578 w 21600"/>
              <a:gd name="connsiteY2" fmla="*/ 1666 h 22237"/>
              <a:gd name="connsiteX3" fmla="*/ 0 w 21600"/>
              <a:gd name="connsiteY3" fmla="*/ 21839 h 22237"/>
              <a:gd name="connsiteX4" fmla="*/ 0 w 21600"/>
              <a:gd name="connsiteY4" fmla="*/ 1667 h 22237"/>
              <a:gd name="connsiteX0" fmla="*/ 0 w 21600"/>
              <a:gd name="connsiteY0" fmla="*/ 1708 h 22278"/>
              <a:gd name="connsiteX1" fmla="*/ 21600 w 21600"/>
              <a:gd name="connsiteY1" fmla="*/ 1708 h 22278"/>
              <a:gd name="connsiteX2" fmla="*/ 21578 w 21600"/>
              <a:gd name="connsiteY2" fmla="*/ 1661 h 22278"/>
              <a:gd name="connsiteX3" fmla="*/ 0 w 21600"/>
              <a:gd name="connsiteY3" fmla="*/ 21880 h 22278"/>
              <a:gd name="connsiteX4" fmla="*/ 0 w 21600"/>
              <a:gd name="connsiteY4" fmla="*/ 1708 h 22278"/>
              <a:gd name="connsiteX0" fmla="*/ 0 w 21600"/>
              <a:gd name="connsiteY0" fmla="*/ 1668 h 22238"/>
              <a:gd name="connsiteX1" fmla="*/ 21600 w 21600"/>
              <a:gd name="connsiteY1" fmla="*/ 1668 h 22238"/>
              <a:gd name="connsiteX2" fmla="*/ 21578 w 21600"/>
              <a:gd name="connsiteY2" fmla="*/ 1667 h 22238"/>
              <a:gd name="connsiteX3" fmla="*/ 0 w 21600"/>
              <a:gd name="connsiteY3" fmla="*/ 21840 h 22238"/>
              <a:gd name="connsiteX4" fmla="*/ 0 w 21600"/>
              <a:gd name="connsiteY4" fmla="*/ 1668 h 22238"/>
              <a:gd name="connsiteX0" fmla="*/ 0 w 21600"/>
              <a:gd name="connsiteY0" fmla="*/ 1668 h 22238"/>
              <a:gd name="connsiteX1" fmla="*/ 21600 w 21600"/>
              <a:gd name="connsiteY1" fmla="*/ 1668 h 22238"/>
              <a:gd name="connsiteX2" fmla="*/ 21588 w 21600"/>
              <a:gd name="connsiteY2" fmla="*/ 1667 h 22238"/>
              <a:gd name="connsiteX3" fmla="*/ 0 w 21600"/>
              <a:gd name="connsiteY3" fmla="*/ 21840 h 22238"/>
              <a:gd name="connsiteX4" fmla="*/ 0 w 21600"/>
              <a:gd name="connsiteY4" fmla="*/ 1668 h 22238"/>
              <a:gd name="connsiteX0" fmla="*/ 0 w 21607"/>
              <a:gd name="connsiteY0" fmla="*/ 1648 h 22219"/>
              <a:gd name="connsiteX1" fmla="*/ 21600 w 21607"/>
              <a:gd name="connsiteY1" fmla="*/ 1648 h 22219"/>
              <a:gd name="connsiteX2" fmla="*/ 21607 w 21607"/>
              <a:gd name="connsiteY2" fmla="*/ 1670 h 22219"/>
              <a:gd name="connsiteX3" fmla="*/ 0 w 21607"/>
              <a:gd name="connsiteY3" fmla="*/ 21820 h 22219"/>
              <a:gd name="connsiteX4" fmla="*/ 0 w 21607"/>
              <a:gd name="connsiteY4" fmla="*/ 1648 h 22219"/>
              <a:gd name="connsiteX0" fmla="*/ 0 w 21600"/>
              <a:gd name="connsiteY0" fmla="*/ 1648 h 22219"/>
              <a:gd name="connsiteX1" fmla="*/ 21600 w 21600"/>
              <a:gd name="connsiteY1" fmla="*/ 1648 h 22219"/>
              <a:gd name="connsiteX2" fmla="*/ 21597 w 21600"/>
              <a:gd name="connsiteY2" fmla="*/ 1670 h 22219"/>
              <a:gd name="connsiteX3" fmla="*/ 0 w 21600"/>
              <a:gd name="connsiteY3" fmla="*/ 21820 h 22219"/>
              <a:gd name="connsiteX4" fmla="*/ 0 w 21600"/>
              <a:gd name="connsiteY4" fmla="*/ 1648 h 222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600" h="22219">
                <a:moveTo>
                  <a:pt x="0" y="1648"/>
                </a:moveTo>
                <a:lnTo>
                  <a:pt x="21600" y="1648"/>
                </a:lnTo>
                <a:cubicBezTo>
                  <a:pt x="21600" y="7422"/>
                  <a:pt x="21597" y="-4104"/>
                  <a:pt x="21597" y="1670"/>
                </a:cubicBezTo>
                <a:cubicBezTo>
                  <a:pt x="10797" y="1670"/>
                  <a:pt x="10800" y="25570"/>
                  <a:pt x="0" y="21820"/>
                </a:cubicBezTo>
                <a:lnTo>
                  <a:pt x="0" y="1648"/>
                </a:lnTo>
                <a:close/>
              </a:path>
            </a:pathLst>
          </a:custGeom>
          <a:solidFill>
            <a:schemeClr val="tx1">
              <a:lumMod val="85000"/>
              <a:lumOff val="1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3" name="Flowchart: Document 3"/>
          <p:cNvSpPr/>
          <p:nvPr/>
        </p:nvSpPr>
        <p:spPr bwMode="auto">
          <a:xfrm flipH="1" flipV="1">
            <a:off x="0" y="4323238"/>
            <a:ext cx="12192000" cy="2752476"/>
          </a:xfrm>
          <a:custGeom>
            <a:avLst/>
            <a:gdLst>
              <a:gd name="connsiteX0" fmla="*/ 0 w 21600"/>
              <a:gd name="connsiteY0" fmla="*/ 0 h 21600"/>
              <a:gd name="connsiteX1" fmla="*/ 21600 w 21600"/>
              <a:gd name="connsiteY1" fmla="*/ 0 h 21600"/>
              <a:gd name="connsiteX2" fmla="*/ 21600 w 21600"/>
              <a:gd name="connsiteY2" fmla="*/ 17322 h 21600"/>
              <a:gd name="connsiteX3" fmla="*/ 0 w 21600"/>
              <a:gd name="connsiteY3" fmla="*/ 20172 h 21600"/>
              <a:gd name="connsiteX4" fmla="*/ 0 w 21600"/>
              <a:gd name="connsiteY4" fmla="*/ 0 h 21600"/>
              <a:gd name="connsiteX0" fmla="*/ 0 w 21600"/>
              <a:gd name="connsiteY0" fmla="*/ 1667 h 22237"/>
              <a:gd name="connsiteX1" fmla="*/ 21600 w 21600"/>
              <a:gd name="connsiteY1" fmla="*/ 1667 h 22237"/>
              <a:gd name="connsiteX2" fmla="*/ 21578 w 21600"/>
              <a:gd name="connsiteY2" fmla="*/ 1666 h 22237"/>
              <a:gd name="connsiteX3" fmla="*/ 0 w 21600"/>
              <a:gd name="connsiteY3" fmla="*/ 21839 h 22237"/>
              <a:gd name="connsiteX4" fmla="*/ 0 w 21600"/>
              <a:gd name="connsiteY4" fmla="*/ 1667 h 22237"/>
              <a:gd name="connsiteX0" fmla="*/ 0 w 21600"/>
              <a:gd name="connsiteY0" fmla="*/ 1708 h 22278"/>
              <a:gd name="connsiteX1" fmla="*/ 21600 w 21600"/>
              <a:gd name="connsiteY1" fmla="*/ 1708 h 22278"/>
              <a:gd name="connsiteX2" fmla="*/ 21578 w 21600"/>
              <a:gd name="connsiteY2" fmla="*/ 1661 h 22278"/>
              <a:gd name="connsiteX3" fmla="*/ 0 w 21600"/>
              <a:gd name="connsiteY3" fmla="*/ 21880 h 22278"/>
              <a:gd name="connsiteX4" fmla="*/ 0 w 21600"/>
              <a:gd name="connsiteY4" fmla="*/ 1708 h 22278"/>
              <a:gd name="connsiteX0" fmla="*/ 0 w 21600"/>
              <a:gd name="connsiteY0" fmla="*/ 1668 h 22238"/>
              <a:gd name="connsiteX1" fmla="*/ 21600 w 21600"/>
              <a:gd name="connsiteY1" fmla="*/ 1668 h 22238"/>
              <a:gd name="connsiteX2" fmla="*/ 21578 w 21600"/>
              <a:gd name="connsiteY2" fmla="*/ 1667 h 22238"/>
              <a:gd name="connsiteX3" fmla="*/ 0 w 21600"/>
              <a:gd name="connsiteY3" fmla="*/ 21840 h 22238"/>
              <a:gd name="connsiteX4" fmla="*/ 0 w 21600"/>
              <a:gd name="connsiteY4" fmla="*/ 1668 h 22238"/>
              <a:gd name="connsiteX0" fmla="*/ 0 w 21600"/>
              <a:gd name="connsiteY0" fmla="*/ 1668 h 22238"/>
              <a:gd name="connsiteX1" fmla="*/ 21600 w 21600"/>
              <a:gd name="connsiteY1" fmla="*/ 1668 h 22238"/>
              <a:gd name="connsiteX2" fmla="*/ 21588 w 21600"/>
              <a:gd name="connsiteY2" fmla="*/ 1667 h 22238"/>
              <a:gd name="connsiteX3" fmla="*/ 0 w 21600"/>
              <a:gd name="connsiteY3" fmla="*/ 21840 h 22238"/>
              <a:gd name="connsiteX4" fmla="*/ 0 w 21600"/>
              <a:gd name="connsiteY4" fmla="*/ 1668 h 22238"/>
              <a:gd name="connsiteX0" fmla="*/ 0 w 21607"/>
              <a:gd name="connsiteY0" fmla="*/ 1648 h 22219"/>
              <a:gd name="connsiteX1" fmla="*/ 21600 w 21607"/>
              <a:gd name="connsiteY1" fmla="*/ 1648 h 22219"/>
              <a:gd name="connsiteX2" fmla="*/ 21607 w 21607"/>
              <a:gd name="connsiteY2" fmla="*/ 1670 h 22219"/>
              <a:gd name="connsiteX3" fmla="*/ 0 w 21607"/>
              <a:gd name="connsiteY3" fmla="*/ 21820 h 22219"/>
              <a:gd name="connsiteX4" fmla="*/ 0 w 21607"/>
              <a:gd name="connsiteY4" fmla="*/ 1648 h 22219"/>
              <a:gd name="connsiteX0" fmla="*/ 0 w 21600"/>
              <a:gd name="connsiteY0" fmla="*/ 1648 h 22219"/>
              <a:gd name="connsiteX1" fmla="*/ 21600 w 21600"/>
              <a:gd name="connsiteY1" fmla="*/ 1648 h 22219"/>
              <a:gd name="connsiteX2" fmla="*/ 21597 w 21600"/>
              <a:gd name="connsiteY2" fmla="*/ 1670 h 22219"/>
              <a:gd name="connsiteX3" fmla="*/ 0 w 21600"/>
              <a:gd name="connsiteY3" fmla="*/ 21820 h 22219"/>
              <a:gd name="connsiteX4" fmla="*/ 0 w 21600"/>
              <a:gd name="connsiteY4" fmla="*/ 1648 h 222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600" h="22219">
                <a:moveTo>
                  <a:pt x="0" y="1648"/>
                </a:moveTo>
                <a:lnTo>
                  <a:pt x="21600" y="1648"/>
                </a:lnTo>
                <a:cubicBezTo>
                  <a:pt x="21600" y="7422"/>
                  <a:pt x="21597" y="-4104"/>
                  <a:pt x="21597" y="1670"/>
                </a:cubicBezTo>
                <a:cubicBezTo>
                  <a:pt x="10797" y="1670"/>
                  <a:pt x="10800" y="25570"/>
                  <a:pt x="0" y="21820"/>
                </a:cubicBezTo>
                <a:lnTo>
                  <a:pt x="0" y="1648"/>
                </a:lnTo>
                <a:close/>
              </a:path>
            </a:pathLst>
          </a:custGeom>
          <a:solidFill>
            <a:schemeClr val="tx1">
              <a:lumMod val="75000"/>
              <a:lumOff val="2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15" name="Group 14"/>
          <p:cNvGrpSpPr/>
          <p:nvPr/>
        </p:nvGrpSpPr>
        <p:grpSpPr>
          <a:xfrm>
            <a:off x="9056781" y="1595305"/>
            <a:ext cx="2914554" cy="873806"/>
            <a:chOff x="9130727" y="1677837"/>
            <a:chExt cx="2914554" cy="873806"/>
          </a:xfrm>
          <a:solidFill>
            <a:srgbClr val="EDC30D"/>
          </a:solidFill>
        </p:grpSpPr>
        <p:sp>
          <p:nvSpPr>
            <p:cNvPr id="16" name="Freeform 13"/>
            <p:cNvSpPr>
              <a:spLocks noChangeAspect="1" noEditPoints="1"/>
            </p:cNvSpPr>
            <p:nvPr/>
          </p:nvSpPr>
          <p:spPr bwMode="auto">
            <a:xfrm>
              <a:off x="11387797" y="1748186"/>
              <a:ext cx="657484" cy="667042"/>
            </a:xfrm>
            <a:custGeom>
              <a:avLst/>
              <a:gdLst>
                <a:gd name="T0" fmla="*/ 147 w 288"/>
                <a:gd name="T1" fmla="*/ 116 h 293"/>
                <a:gd name="T2" fmla="*/ 147 w 288"/>
                <a:gd name="T3" fmla="*/ 116 h 293"/>
                <a:gd name="T4" fmla="*/ 147 w 288"/>
                <a:gd name="T5" fmla="*/ 116 h 293"/>
                <a:gd name="T6" fmla="*/ 203 w 288"/>
                <a:gd name="T7" fmla="*/ 58 h 293"/>
                <a:gd name="T8" fmla="*/ 146 w 288"/>
                <a:gd name="T9" fmla="*/ 1 h 293"/>
                <a:gd name="T10" fmla="*/ 106 w 288"/>
                <a:gd name="T11" fmla="*/ 18 h 293"/>
                <a:gd name="T12" fmla="*/ 90 w 288"/>
                <a:gd name="T13" fmla="*/ 59 h 293"/>
                <a:gd name="T14" fmla="*/ 107 w 288"/>
                <a:gd name="T15" fmla="*/ 99 h 293"/>
                <a:gd name="T16" fmla="*/ 147 w 288"/>
                <a:gd name="T17" fmla="*/ 116 h 293"/>
                <a:gd name="T18" fmla="*/ 240 w 288"/>
                <a:gd name="T19" fmla="*/ 293 h 293"/>
                <a:gd name="T20" fmla="*/ 288 w 288"/>
                <a:gd name="T21" fmla="*/ 292 h 293"/>
                <a:gd name="T22" fmla="*/ 255 w 288"/>
                <a:gd name="T23" fmla="*/ 185 h 293"/>
                <a:gd name="T24" fmla="*/ 189 w 288"/>
                <a:gd name="T25" fmla="*/ 135 h 293"/>
                <a:gd name="T26" fmla="*/ 172 w 288"/>
                <a:gd name="T27" fmla="*/ 135 h 293"/>
                <a:gd name="T28" fmla="*/ 172 w 288"/>
                <a:gd name="T29" fmla="*/ 136 h 293"/>
                <a:gd name="T30" fmla="*/ 173 w 288"/>
                <a:gd name="T31" fmla="*/ 137 h 293"/>
                <a:gd name="T32" fmla="*/ 172 w 288"/>
                <a:gd name="T33" fmla="*/ 139 h 293"/>
                <a:gd name="T34" fmla="*/ 161 w 288"/>
                <a:gd name="T35" fmla="*/ 155 h 293"/>
                <a:gd name="T36" fmla="*/ 173 w 288"/>
                <a:gd name="T37" fmla="*/ 232 h 293"/>
                <a:gd name="T38" fmla="*/ 148 w 288"/>
                <a:gd name="T39" fmla="*/ 263 h 293"/>
                <a:gd name="T40" fmla="*/ 138 w 288"/>
                <a:gd name="T41" fmla="*/ 250 h 293"/>
                <a:gd name="T42" fmla="*/ 123 w 288"/>
                <a:gd name="T43" fmla="*/ 233 h 293"/>
                <a:gd name="T44" fmla="*/ 133 w 288"/>
                <a:gd name="T45" fmla="*/ 155 h 293"/>
                <a:gd name="T46" fmla="*/ 122 w 288"/>
                <a:gd name="T47" fmla="*/ 139 h 293"/>
                <a:gd name="T48" fmla="*/ 122 w 288"/>
                <a:gd name="T49" fmla="*/ 138 h 293"/>
                <a:gd name="T50" fmla="*/ 122 w 288"/>
                <a:gd name="T51" fmla="*/ 136 h 293"/>
                <a:gd name="T52" fmla="*/ 122 w 288"/>
                <a:gd name="T53" fmla="*/ 135 h 293"/>
                <a:gd name="T54" fmla="*/ 101 w 288"/>
                <a:gd name="T55" fmla="*/ 135 h 293"/>
                <a:gd name="T56" fmla="*/ 33 w 288"/>
                <a:gd name="T57" fmla="*/ 185 h 293"/>
                <a:gd name="T58" fmla="*/ 0 w 288"/>
                <a:gd name="T59" fmla="*/ 293 h 293"/>
                <a:gd name="T60" fmla="*/ 49 w 288"/>
                <a:gd name="T61" fmla="*/ 293 h 293"/>
                <a:gd name="T62" fmla="*/ 69 w 288"/>
                <a:gd name="T63" fmla="*/ 222 h 293"/>
                <a:gd name="T64" fmla="*/ 84 w 288"/>
                <a:gd name="T65" fmla="*/ 222 h 293"/>
                <a:gd name="T66" fmla="*/ 63 w 288"/>
                <a:gd name="T67" fmla="*/ 293 h 293"/>
                <a:gd name="T68" fmla="*/ 225 w 288"/>
                <a:gd name="T69" fmla="*/ 293 h 293"/>
                <a:gd name="T70" fmla="*/ 205 w 288"/>
                <a:gd name="T71" fmla="*/ 221 h 293"/>
                <a:gd name="T72" fmla="*/ 219 w 288"/>
                <a:gd name="T73" fmla="*/ 221 h 293"/>
                <a:gd name="T74" fmla="*/ 240 w 288"/>
                <a:gd name="T75" fmla="*/ 293 h 293"/>
                <a:gd name="T76" fmla="*/ 154 w 288"/>
                <a:gd name="T77" fmla="*/ 150 h 293"/>
                <a:gd name="T78" fmla="*/ 164 w 288"/>
                <a:gd name="T79" fmla="*/ 138 h 293"/>
                <a:gd name="T80" fmla="*/ 164 w 288"/>
                <a:gd name="T81" fmla="*/ 137 h 293"/>
                <a:gd name="T82" fmla="*/ 162 w 288"/>
                <a:gd name="T83" fmla="*/ 135 h 293"/>
                <a:gd name="T84" fmla="*/ 158 w 288"/>
                <a:gd name="T85" fmla="*/ 132 h 293"/>
                <a:gd name="T86" fmla="*/ 147 w 288"/>
                <a:gd name="T87" fmla="*/ 130 h 293"/>
                <a:gd name="T88" fmla="*/ 137 w 288"/>
                <a:gd name="T89" fmla="*/ 132 h 293"/>
                <a:gd name="T90" fmla="*/ 132 w 288"/>
                <a:gd name="T91" fmla="*/ 135 h 293"/>
                <a:gd name="T92" fmla="*/ 131 w 288"/>
                <a:gd name="T93" fmla="*/ 138 h 293"/>
                <a:gd name="T94" fmla="*/ 131 w 288"/>
                <a:gd name="T95" fmla="*/ 138 h 293"/>
                <a:gd name="T96" fmla="*/ 140 w 288"/>
                <a:gd name="T97" fmla="*/ 150 h 293"/>
                <a:gd name="T98" fmla="*/ 143 w 288"/>
                <a:gd name="T99" fmla="*/ 152 h 293"/>
                <a:gd name="T100" fmla="*/ 132 w 288"/>
                <a:gd name="T101" fmla="*/ 230 h 293"/>
                <a:gd name="T102" fmla="*/ 144 w 288"/>
                <a:gd name="T103" fmla="*/ 244 h 293"/>
                <a:gd name="T104" fmla="*/ 146 w 288"/>
                <a:gd name="T105" fmla="*/ 247 h 293"/>
                <a:gd name="T106" fmla="*/ 148 w 288"/>
                <a:gd name="T107" fmla="*/ 249 h 293"/>
                <a:gd name="T108" fmla="*/ 150 w 288"/>
                <a:gd name="T109" fmla="*/ 247 h 293"/>
                <a:gd name="T110" fmla="*/ 152 w 288"/>
                <a:gd name="T111" fmla="*/ 244 h 293"/>
                <a:gd name="T112" fmla="*/ 164 w 288"/>
                <a:gd name="T113" fmla="*/ 230 h 293"/>
                <a:gd name="T114" fmla="*/ 152 w 288"/>
                <a:gd name="T115" fmla="*/ 152 h 293"/>
                <a:gd name="T116" fmla="*/ 154 w 288"/>
                <a:gd name="T117" fmla="*/ 150 h 2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88" h="293">
                  <a:moveTo>
                    <a:pt x="147" y="116"/>
                  </a:moveTo>
                  <a:cubicBezTo>
                    <a:pt x="147" y="116"/>
                    <a:pt x="147" y="116"/>
                    <a:pt x="147" y="116"/>
                  </a:cubicBezTo>
                  <a:cubicBezTo>
                    <a:pt x="147" y="116"/>
                    <a:pt x="147" y="116"/>
                    <a:pt x="147" y="116"/>
                  </a:cubicBezTo>
                  <a:cubicBezTo>
                    <a:pt x="178" y="115"/>
                    <a:pt x="203" y="89"/>
                    <a:pt x="203" y="58"/>
                  </a:cubicBezTo>
                  <a:cubicBezTo>
                    <a:pt x="202" y="26"/>
                    <a:pt x="177" y="0"/>
                    <a:pt x="146" y="1"/>
                  </a:cubicBezTo>
                  <a:cubicBezTo>
                    <a:pt x="131" y="1"/>
                    <a:pt x="117" y="7"/>
                    <a:pt x="106" y="18"/>
                  </a:cubicBezTo>
                  <a:cubicBezTo>
                    <a:pt x="96" y="29"/>
                    <a:pt x="90" y="43"/>
                    <a:pt x="90" y="59"/>
                  </a:cubicBezTo>
                  <a:cubicBezTo>
                    <a:pt x="90" y="74"/>
                    <a:pt x="96" y="89"/>
                    <a:pt x="107" y="99"/>
                  </a:cubicBezTo>
                  <a:cubicBezTo>
                    <a:pt x="118" y="110"/>
                    <a:pt x="132" y="116"/>
                    <a:pt x="147" y="116"/>
                  </a:cubicBezTo>
                  <a:close/>
                  <a:moveTo>
                    <a:pt x="240" y="293"/>
                  </a:moveTo>
                  <a:cubicBezTo>
                    <a:pt x="288" y="292"/>
                    <a:pt x="288" y="292"/>
                    <a:pt x="288" y="292"/>
                  </a:cubicBezTo>
                  <a:cubicBezTo>
                    <a:pt x="255" y="185"/>
                    <a:pt x="255" y="185"/>
                    <a:pt x="255" y="185"/>
                  </a:cubicBezTo>
                  <a:cubicBezTo>
                    <a:pt x="250" y="167"/>
                    <a:pt x="228" y="136"/>
                    <a:pt x="189" y="135"/>
                  </a:cubicBezTo>
                  <a:cubicBezTo>
                    <a:pt x="172" y="135"/>
                    <a:pt x="172" y="135"/>
                    <a:pt x="172" y="135"/>
                  </a:cubicBezTo>
                  <a:cubicBezTo>
                    <a:pt x="172" y="135"/>
                    <a:pt x="172" y="135"/>
                    <a:pt x="172" y="136"/>
                  </a:cubicBezTo>
                  <a:cubicBezTo>
                    <a:pt x="173" y="137"/>
                    <a:pt x="173" y="137"/>
                    <a:pt x="173" y="137"/>
                  </a:cubicBezTo>
                  <a:cubicBezTo>
                    <a:pt x="172" y="139"/>
                    <a:pt x="172" y="139"/>
                    <a:pt x="172" y="139"/>
                  </a:cubicBezTo>
                  <a:cubicBezTo>
                    <a:pt x="172" y="143"/>
                    <a:pt x="168" y="148"/>
                    <a:pt x="161" y="155"/>
                  </a:cubicBezTo>
                  <a:cubicBezTo>
                    <a:pt x="173" y="232"/>
                    <a:pt x="173" y="232"/>
                    <a:pt x="173" y="232"/>
                  </a:cubicBezTo>
                  <a:cubicBezTo>
                    <a:pt x="148" y="263"/>
                    <a:pt x="148" y="263"/>
                    <a:pt x="148" y="263"/>
                  </a:cubicBezTo>
                  <a:cubicBezTo>
                    <a:pt x="138" y="250"/>
                    <a:pt x="138" y="250"/>
                    <a:pt x="138" y="250"/>
                  </a:cubicBezTo>
                  <a:cubicBezTo>
                    <a:pt x="123" y="233"/>
                    <a:pt x="123" y="233"/>
                    <a:pt x="123" y="233"/>
                  </a:cubicBezTo>
                  <a:cubicBezTo>
                    <a:pt x="133" y="155"/>
                    <a:pt x="133" y="155"/>
                    <a:pt x="133" y="155"/>
                  </a:cubicBezTo>
                  <a:cubicBezTo>
                    <a:pt x="126" y="149"/>
                    <a:pt x="122" y="143"/>
                    <a:pt x="122" y="139"/>
                  </a:cubicBezTo>
                  <a:cubicBezTo>
                    <a:pt x="122" y="138"/>
                    <a:pt x="122" y="138"/>
                    <a:pt x="122" y="138"/>
                  </a:cubicBezTo>
                  <a:cubicBezTo>
                    <a:pt x="122" y="136"/>
                    <a:pt x="122" y="136"/>
                    <a:pt x="122" y="136"/>
                  </a:cubicBezTo>
                  <a:cubicBezTo>
                    <a:pt x="122" y="136"/>
                    <a:pt x="122" y="135"/>
                    <a:pt x="122" y="135"/>
                  </a:cubicBezTo>
                  <a:cubicBezTo>
                    <a:pt x="101" y="135"/>
                    <a:pt x="101" y="135"/>
                    <a:pt x="101" y="135"/>
                  </a:cubicBezTo>
                  <a:cubicBezTo>
                    <a:pt x="61" y="135"/>
                    <a:pt x="39" y="167"/>
                    <a:pt x="33" y="185"/>
                  </a:cubicBezTo>
                  <a:cubicBezTo>
                    <a:pt x="0" y="293"/>
                    <a:pt x="0" y="293"/>
                    <a:pt x="0" y="293"/>
                  </a:cubicBezTo>
                  <a:cubicBezTo>
                    <a:pt x="49" y="293"/>
                    <a:pt x="49" y="293"/>
                    <a:pt x="49" y="293"/>
                  </a:cubicBezTo>
                  <a:cubicBezTo>
                    <a:pt x="69" y="222"/>
                    <a:pt x="69" y="222"/>
                    <a:pt x="69" y="222"/>
                  </a:cubicBezTo>
                  <a:cubicBezTo>
                    <a:pt x="84" y="222"/>
                    <a:pt x="84" y="222"/>
                    <a:pt x="84" y="222"/>
                  </a:cubicBezTo>
                  <a:cubicBezTo>
                    <a:pt x="63" y="293"/>
                    <a:pt x="63" y="293"/>
                    <a:pt x="63" y="293"/>
                  </a:cubicBezTo>
                  <a:cubicBezTo>
                    <a:pt x="225" y="293"/>
                    <a:pt x="225" y="293"/>
                    <a:pt x="225" y="293"/>
                  </a:cubicBezTo>
                  <a:cubicBezTo>
                    <a:pt x="205" y="221"/>
                    <a:pt x="205" y="221"/>
                    <a:pt x="205" y="221"/>
                  </a:cubicBezTo>
                  <a:cubicBezTo>
                    <a:pt x="219" y="221"/>
                    <a:pt x="219" y="221"/>
                    <a:pt x="219" y="221"/>
                  </a:cubicBezTo>
                  <a:lnTo>
                    <a:pt x="240" y="293"/>
                  </a:lnTo>
                  <a:close/>
                  <a:moveTo>
                    <a:pt x="154" y="150"/>
                  </a:moveTo>
                  <a:cubicBezTo>
                    <a:pt x="163" y="142"/>
                    <a:pt x="164" y="138"/>
                    <a:pt x="164" y="138"/>
                  </a:cubicBezTo>
                  <a:cubicBezTo>
                    <a:pt x="164" y="137"/>
                    <a:pt x="164" y="137"/>
                    <a:pt x="164" y="137"/>
                  </a:cubicBezTo>
                  <a:cubicBezTo>
                    <a:pt x="164" y="137"/>
                    <a:pt x="163" y="136"/>
                    <a:pt x="162" y="135"/>
                  </a:cubicBezTo>
                  <a:cubicBezTo>
                    <a:pt x="161" y="134"/>
                    <a:pt x="160" y="133"/>
                    <a:pt x="158" y="132"/>
                  </a:cubicBezTo>
                  <a:cubicBezTo>
                    <a:pt x="155" y="131"/>
                    <a:pt x="151" y="130"/>
                    <a:pt x="147" y="130"/>
                  </a:cubicBezTo>
                  <a:cubicBezTo>
                    <a:pt x="144" y="130"/>
                    <a:pt x="140" y="131"/>
                    <a:pt x="137" y="132"/>
                  </a:cubicBezTo>
                  <a:cubicBezTo>
                    <a:pt x="135" y="133"/>
                    <a:pt x="133" y="134"/>
                    <a:pt x="132" y="135"/>
                  </a:cubicBezTo>
                  <a:cubicBezTo>
                    <a:pt x="131" y="136"/>
                    <a:pt x="131" y="137"/>
                    <a:pt x="131" y="138"/>
                  </a:cubicBezTo>
                  <a:cubicBezTo>
                    <a:pt x="131" y="138"/>
                    <a:pt x="131" y="138"/>
                    <a:pt x="131" y="138"/>
                  </a:cubicBezTo>
                  <a:cubicBezTo>
                    <a:pt x="131" y="138"/>
                    <a:pt x="131" y="142"/>
                    <a:pt x="140" y="150"/>
                  </a:cubicBezTo>
                  <a:cubicBezTo>
                    <a:pt x="143" y="152"/>
                    <a:pt x="143" y="152"/>
                    <a:pt x="143" y="152"/>
                  </a:cubicBezTo>
                  <a:cubicBezTo>
                    <a:pt x="132" y="230"/>
                    <a:pt x="132" y="230"/>
                    <a:pt x="132" y="230"/>
                  </a:cubicBezTo>
                  <a:cubicBezTo>
                    <a:pt x="144" y="244"/>
                    <a:pt x="144" y="244"/>
                    <a:pt x="144" y="244"/>
                  </a:cubicBezTo>
                  <a:cubicBezTo>
                    <a:pt x="146" y="247"/>
                    <a:pt x="146" y="247"/>
                    <a:pt x="146" y="247"/>
                  </a:cubicBezTo>
                  <a:cubicBezTo>
                    <a:pt x="148" y="249"/>
                    <a:pt x="148" y="249"/>
                    <a:pt x="148" y="249"/>
                  </a:cubicBezTo>
                  <a:cubicBezTo>
                    <a:pt x="150" y="247"/>
                    <a:pt x="150" y="247"/>
                    <a:pt x="150" y="247"/>
                  </a:cubicBezTo>
                  <a:cubicBezTo>
                    <a:pt x="152" y="244"/>
                    <a:pt x="152" y="244"/>
                    <a:pt x="152" y="244"/>
                  </a:cubicBezTo>
                  <a:cubicBezTo>
                    <a:pt x="164" y="230"/>
                    <a:pt x="164" y="230"/>
                    <a:pt x="164" y="230"/>
                  </a:cubicBezTo>
                  <a:cubicBezTo>
                    <a:pt x="152" y="152"/>
                    <a:pt x="152" y="152"/>
                    <a:pt x="152" y="152"/>
                  </a:cubicBezTo>
                  <a:lnTo>
                    <a:pt x="154" y="15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algn="ctr" defTabSz="914225"/>
              <a:endParaRPr lang="en-US" dirty="0">
                <a:solidFill>
                  <a:srgbClr val="505050"/>
                </a:solidFill>
              </a:endParaRPr>
            </a:p>
          </p:txBody>
        </p:sp>
        <p:sp>
          <p:nvSpPr>
            <p:cNvPr id="17" name="Freeform 25"/>
            <p:cNvSpPr>
              <a:spLocks noChangeAspect="1" noEditPoints="1"/>
            </p:cNvSpPr>
            <p:nvPr/>
          </p:nvSpPr>
          <p:spPr bwMode="auto">
            <a:xfrm>
              <a:off x="10640907" y="1677837"/>
              <a:ext cx="637477" cy="685800"/>
            </a:xfrm>
            <a:custGeom>
              <a:avLst/>
              <a:gdLst>
                <a:gd name="T0" fmla="*/ 106 w 287"/>
                <a:gd name="T1" fmla="*/ 17 h 309"/>
                <a:gd name="T2" fmla="*/ 147 w 287"/>
                <a:gd name="T3" fmla="*/ 115 h 309"/>
                <a:gd name="T4" fmla="*/ 107 w 287"/>
                <a:gd name="T5" fmla="*/ 99 h 309"/>
                <a:gd name="T6" fmla="*/ 195 w 287"/>
                <a:gd name="T7" fmla="*/ 238 h 309"/>
                <a:gd name="T8" fmla="*/ 207 w 287"/>
                <a:gd name="T9" fmla="*/ 218 h 309"/>
                <a:gd name="T10" fmla="*/ 226 w 287"/>
                <a:gd name="T11" fmla="*/ 216 h 309"/>
                <a:gd name="T12" fmla="*/ 243 w 287"/>
                <a:gd name="T13" fmla="*/ 180 h 309"/>
                <a:gd name="T14" fmla="*/ 241 w 287"/>
                <a:gd name="T15" fmla="*/ 177 h 309"/>
                <a:gd name="T16" fmla="*/ 229 w 287"/>
                <a:gd name="T17" fmla="*/ 191 h 309"/>
                <a:gd name="T18" fmla="*/ 217 w 287"/>
                <a:gd name="T19" fmla="*/ 203 h 309"/>
                <a:gd name="T20" fmla="*/ 208 w 287"/>
                <a:gd name="T21" fmla="*/ 200 h 309"/>
                <a:gd name="T22" fmla="*/ 198 w 287"/>
                <a:gd name="T23" fmla="*/ 191 h 309"/>
                <a:gd name="T24" fmla="*/ 204 w 287"/>
                <a:gd name="T25" fmla="*/ 175 h 309"/>
                <a:gd name="T26" fmla="*/ 217 w 287"/>
                <a:gd name="T27" fmla="*/ 172 h 309"/>
                <a:gd name="T28" fmla="*/ 211 w 287"/>
                <a:gd name="T29" fmla="*/ 157 h 309"/>
                <a:gd name="T30" fmla="*/ 191 w 287"/>
                <a:gd name="T31" fmla="*/ 166 h 309"/>
                <a:gd name="T32" fmla="*/ 189 w 287"/>
                <a:gd name="T33" fmla="*/ 203 h 309"/>
                <a:gd name="T34" fmla="*/ 159 w 287"/>
                <a:gd name="T35" fmla="*/ 250 h 309"/>
                <a:gd name="T36" fmla="*/ 144 w 287"/>
                <a:gd name="T37" fmla="*/ 250 h 309"/>
                <a:gd name="T38" fmla="*/ 128 w 287"/>
                <a:gd name="T39" fmla="*/ 288 h 309"/>
                <a:gd name="T40" fmla="*/ 140 w 287"/>
                <a:gd name="T41" fmla="*/ 287 h 309"/>
                <a:gd name="T42" fmla="*/ 142 w 287"/>
                <a:gd name="T43" fmla="*/ 272 h 309"/>
                <a:gd name="T44" fmla="*/ 163 w 287"/>
                <a:gd name="T45" fmla="*/ 264 h 309"/>
                <a:gd name="T46" fmla="*/ 171 w 287"/>
                <a:gd name="T47" fmla="*/ 279 h 309"/>
                <a:gd name="T48" fmla="*/ 164 w 287"/>
                <a:gd name="T49" fmla="*/ 292 h 309"/>
                <a:gd name="T50" fmla="*/ 154 w 287"/>
                <a:gd name="T51" fmla="*/ 297 h 309"/>
                <a:gd name="T52" fmla="*/ 158 w 287"/>
                <a:gd name="T53" fmla="*/ 309 h 309"/>
                <a:gd name="T54" fmla="*/ 183 w 287"/>
                <a:gd name="T55" fmla="*/ 292 h 309"/>
                <a:gd name="T56" fmla="*/ 187 w 287"/>
                <a:gd name="T57" fmla="*/ 274 h 309"/>
                <a:gd name="T58" fmla="*/ 189 w 287"/>
                <a:gd name="T59" fmla="*/ 134 h 309"/>
                <a:gd name="T60" fmla="*/ 122 w 287"/>
                <a:gd name="T61" fmla="*/ 134 h 309"/>
                <a:gd name="T62" fmla="*/ 109 w 287"/>
                <a:gd name="T63" fmla="*/ 134 h 309"/>
                <a:gd name="T64" fmla="*/ 0 w 287"/>
                <a:gd name="T65" fmla="*/ 292 h 309"/>
                <a:gd name="T66" fmla="*/ 83 w 287"/>
                <a:gd name="T67" fmla="*/ 221 h 309"/>
                <a:gd name="T68" fmla="*/ 119 w 287"/>
                <a:gd name="T69" fmla="*/ 290 h 309"/>
                <a:gd name="T70" fmla="*/ 121 w 287"/>
                <a:gd name="T71" fmla="*/ 261 h 309"/>
                <a:gd name="T72" fmla="*/ 145 w 287"/>
                <a:gd name="T73" fmla="*/ 241 h 309"/>
                <a:gd name="T74" fmla="*/ 181 w 287"/>
                <a:gd name="T75" fmla="*/ 205 h 309"/>
                <a:gd name="T76" fmla="*/ 176 w 287"/>
                <a:gd name="T77" fmla="*/ 194 h 309"/>
                <a:gd name="T78" fmla="*/ 175 w 287"/>
                <a:gd name="T79" fmla="*/ 187 h 309"/>
                <a:gd name="T80" fmla="*/ 207 w 287"/>
                <a:gd name="T81" fmla="*/ 150 h 309"/>
                <a:gd name="T82" fmla="*/ 211 w 287"/>
                <a:gd name="T83" fmla="*/ 149 h 309"/>
                <a:gd name="T84" fmla="*/ 222 w 287"/>
                <a:gd name="T85" fmla="*/ 156 h 309"/>
                <a:gd name="T86" fmla="*/ 225 w 287"/>
                <a:gd name="T87" fmla="*/ 173 h 309"/>
                <a:gd name="T88" fmla="*/ 241 w 287"/>
                <a:gd name="T89" fmla="*/ 169 h 309"/>
                <a:gd name="T90" fmla="*/ 251 w 287"/>
                <a:gd name="T91" fmla="*/ 178 h 309"/>
                <a:gd name="T92" fmla="*/ 254 w 287"/>
                <a:gd name="T93" fmla="*/ 199 h 309"/>
                <a:gd name="T94" fmla="*/ 250 w 287"/>
                <a:gd name="T95" fmla="*/ 204 h 309"/>
                <a:gd name="T96" fmla="*/ 225 w 287"/>
                <a:gd name="T97" fmla="*/ 226 h 309"/>
                <a:gd name="T98" fmla="*/ 220 w 287"/>
                <a:gd name="T99" fmla="*/ 226 h 309"/>
                <a:gd name="T100" fmla="*/ 255 w 287"/>
                <a:gd name="T101" fmla="*/ 184 h 309"/>
                <a:gd name="T102" fmla="*/ 194 w 287"/>
                <a:gd name="T103" fmla="*/ 270 h 309"/>
                <a:gd name="T104" fmla="*/ 195 w 287"/>
                <a:gd name="T105" fmla="*/ 277 h 309"/>
                <a:gd name="T106" fmla="*/ 191 w 287"/>
                <a:gd name="T107" fmla="*/ 292 h 309"/>
                <a:gd name="T108" fmla="*/ 188 w 287"/>
                <a:gd name="T109" fmla="*/ 263 h 3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87" h="309">
                  <a:moveTo>
                    <a:pt x="107" y="99"/>
                  </a:moveTo>
                  <a:cubicBezTo>
                    <a:pt x="96" y="88"/>
                    <a:pt x="90" y="74"/>
                    <a:pt x="90" y="58"/>
                  </a:cubicBezTo>
                  <a:cubicBezTo>
                    <a:pt x="90" y="43"/>
                    <a:pt x="95" y="28"/>
                    <a:pt x="106" y="17"/>
                  </a:cubicBezTo>
                  <a:cubicBezTo>
                    <a:pt x="117" y="6"/>
                    <a:pt x="131" y="0"/>
                    <a:pt x="146" y="0"/>
                  </a:cubicBezTo>
                  <a:cubicBezTo>
                    <a:pt x="177" y="0"/>
                    <a:pt x="202" y="26"/>
                    <a:pt x="202" y="57"/>
                  </a:cubicBezTo>
                  <a:cubicBezTo>
                    <a:pt x="203" y="89"/>
                    <a:pt x="178" y="115"/>
                    <a:pt x="147" y="115"/>
                  </a:cubicBezTo>
                  <a:cubicBezTo>
                    <a:pt x="147" y="115"/>
                    <a:pt x="147" y="115"/>
                    <a:pt x="147" y="115"/>
                  </a:cubicBezTo>
                  <a:cubicBezTo>
                    <a:pt x="146" y="115"/>
                    <a:pt x="146" y="115"/>
                    <a:pt x="146" y="115"/>
                  </a:cubicBezTo>
                  <a:cubicBezTo>
                    <a:pt x="131" y="115"/>
                    <a:pt x="117" y="110"/>
                    <a:pt x="107" y="99"/>
                  </a:cubicBezTo>
                  <a:close/>
                  <a:moveTo>
                    <a:pt x="180" y="264"/>
                  </a:moveTo>
                  <a:cubicBezTo>
                    <a:pt x="180" y="264"/>
                    <a:pt x="179" y="262"/>
                    <a:pt x="180" y="260"/>
                  </a:cubicBezTo>
                  <a:cubicBezTo>
                    <a:pt x="186" y="251"/>
                    <a:pt x="191" y="244"/>
                    <a:pt x="195" y="238"/>
                  </a:cubicBezTo>
                  <a:cubicBezTo>
                    <a:pt x="205" y="221"/>
                    <a:pt x="207" y="219"/>
                    <a:pt x="207" y="219"/>
                  </a:cubicBezTo>
                  <a:cubicBezTo>
                    <a:pt x="207" y="218"/>
                    <a:pt x="207" y="218"/>
                    <a:pt x="207" y="218"/>
                  </a:cubicBezTo>
                  <a:cubicBezTo>
                    <a:pt x="207" y="218"/>
                    <a:pt x="207" y="218"/>
                    <a:pt x="207" y="218"/>
                  </a:cubicBezTo>
                  <a:cubicBezTo>
                    <a:pt x="209" y="217"/>
                    <a:pt x="210" y="216"/>
                    <a:pt x="210" y="216"/>
                  </a:cubicBezTo>
                  <a:cubicBezTo>
                    <a:pt x="224" y="218"/>
                    <a:pt x="224" y="218"/>
                    <a:pt x="224" y="218"/>
                  </a:cubicBezTo>
                  <a:cubicBezTo>
                    <a:pt x="224" y="218"/>
                    <a:pt x="225" y="218"/>
                    <a:pt x="226" y="216"/>
                  </a:cubicBezTo>
                  <a:cubicBezTo>
                    <a:pt x="244" y="199"/>
                    <a:pt x="244" y="199"/>
                    <a:pt x="244" y="199"/>
                  </a:cubicBezTo>
                  <a:cubicBezTo>
                    <a:pt x="245" y="197"/>
                    <a:pt x="245" y="197"/>
                    <a:pt x="245" y="197"/>
                  </a:cubicBezTo>
                  <a:cubicBezTo>
                    <a:pt x="243" y="180"/>
                    <a:pt x="243" y="180"/>
                    <a:pt x="243" y="180"/>
                  </a:cubicBezTo>
                  <a:cubicBezTo>
                    <a:pt x="243" y="178"/>
                    <a:pt x="243" y="178"/>
                    <a:pt x="243" y="178"/>
                  </a:cubicBezTo>
                  <a:cubicBezTo>
                    <a:pt x="243" y="178"/>
                    <a:pt x="242" y="177"/>
                    <a:pt x="241" y="177"/>
                  </a:cubicBezTo>
                  <a:cubicBezTo>
                    <a:pt x="241" y="177"/>
                    <a:pt x="241" y="177"/>
                    <a:pt x="241" y="177"/>
                  </a:cubicBezTo>
                  <a:cubicBezTo>
                    <a:pt x="230" y="179"/>
                    <a:pt x="230" y="179"/>
                    <a:pt x="230" y="179"/>
                  </a:cubicBezTo>
                  <a:cubicBezTo>
                    <a:pt x="228" y="179"/>
                    <a:pt x="229" y="181"/>
                    <a:pt x="229" y="183"/>
                  </a:cubicBezTo>
                  <a:cubicBezTo>
                    <a:pt x="229" y="191"/>
                    <a:pt x="229" y="191"/>
                    <a:pt x="229" y="191"/>
                  </a:cubicBezTo>
                  <a:cubicBezTo>
                    <a:pt x="229" y="192"/>
                    <a:pt x="228" y="194"/>
                    <a:pt x="228" y="194"/>
                  </a:cubicBezTo>
                  <a:cubicBezTo>
                    <a:pt x="220" y="203"/>
                    <a:pt x="220" y="203"/>
                    <a:pt x="220" y="203"/>
                  </a:cubicBezTo>
                  <a:cubicBezTo>
                    <a:pt x="220" y="203"/>
                    <a:pt x="219" y="203"/>
                    <a:pt x="217" y="203"/>
                  </a:cubicBezTo>
                  <a:cubicBezTo>
                    <a:pt x="212" y="203"/>
                    <a:pt x="212" y="203"/>
                    <a:pt x="212" y="203"/>
                  </a:cubicBezTo>
                  <a:cubicBezTo>
                    <a:pt x="212" y="203"/>
                    <a:pt x="212" y="203"/>
                    <a:pt x="211" y="203"/>
                  </a:cubicBezTo>
                  <a:cubicBezTo>
                    <a:pt x="210" y="203"/>
                    <a:pt x="209" y="202"/>
                    <a:pt x="208" y="200"/>
                  </a:cubicBezTo>
                  <a:cubicBezTo>
                    <a:pt x="205" y="199"/>
                    <a:pt x="205" y="199"/>
                    <a:pt x="205" y="199"/>
                  </a:cubicBezTo>
                  <a:cubicBezTo>
                    <a:pt x="203" y="198"/>
                    <a:pt x="203" y="197"/>
                    <a:pt x="201" y="195"/>
                  </a:cubicBezTo>
                  <a:cubicBezTo>
                    <a:pt x="198" y="191"/>
                    <a:pt x="198" y="191"/>
                    <a:pt x="198" y="191"/>
                  </a:cubicBezTo>
                  <a:cubicBezTo>
                    <a:pt x="198" y="191"/>
                    <a:pt x="198" y="189"/>
                    <a:pt x="199" y="188"/>
                  </a:cubicBezTo>
                  <a:cubicBezTo>
                    <a:pt x="202" y="179"/>
                    <a:pt x="202" y="179"/>
                    <a:pt x="202" y="179"/>
                  </a:cubicBezTo>
                  <a:cubicBezTo>
                    <a:pt x="202" y="177"/>
                    <a:pt x="203" y="175"/>
                    <a:pt x="204" y="175"/>
                  </a:cubicBezTo>
                  <a:cubicBezTo>
                    <a:pt x="214" y="173"/>
                    <a:pt x="214" y="173"/>
                    <a:pt x="214" y="173"/>
                  </a:cubicBezTo>
                  <a:cubicBezTo>
                    <a:pt x="215" y="172"/>
                    <a:pt x="215" y="172"/>
                    <a:pt x="215" y="172"/>
                  </a:cubicBezTo>
                  <a:cubicBezTo>
                    <a:pt x="215" y="172"/>
                    <a:pt x="215" y="172"/>
                    <a:pt x="217" y="172"/>
                  </a:cubicBezTo>
                  <a:cubicBezTo>
                    <a:pt x="217" y="172"/>
                    <a:pt x="216" y="171"/>
                    <a:pt x="216" y="169"/>
                  </a:cubicBezTo>
                  <a:cubicBezTo>
                    <a:pt x="214" y="158"/>
                    <a:pt x="214" y="158"/>
                    <a:pt x="214" y="158"/>
                  </a:cubicBezTo>
                  <a:cubicBezTo>
                    <a:pt x="214" y="158"/>
                    <a:pt x="212" y="157"/>
                    <a:pt x="211" y="157"/>
                  </a:cubicBezTo>
                  <a:cubicBezTo>
                    <a:pt x="211" y="157"/>
                    <a:pt x="210" y="157"/>
                    <a:pt x="210" y="157"/>
                  </a:cubicBezTo>
                  <a:cubicBezTo>
                    <a:pt x="194" y="164"/>
                    <a:pt x="194" y="164"/>
                    <a:pt x="194" y="164"/>
                  </a:cubicBezTo>
                  <a:cubicBezTo>
                    <a:pt x="192" y="164"/>
                    <a:pt x="191" y="165"/>
                    <a:pt x="191" y="166"/>
                  </a:cubicBezTo>
                  <a:cubicBezTo>
                    <a:pt x="183" y="189"/>
                    <a:pt x="183" y="189"/>
                    <a:pt x="183" y="189"/>
                  </a:cubicBezTo>
                  <a:cubicBezTo>
                    <a:pt x="183" y="189"/>
                    <a:pt x="183" y="191"/>
                    <a:pt x="184" y="193"/>
                  </a:cubicBezTo>
                  <a:cubicBezTo>
                    <a:pt x="189" y="203"/>
                    <a:pt x="189" y="203"/>
                    <a:pt x="189" y="203"/>
                  </a:cubicBezTo>
                  <a:cubicBezTo>
                    <a:pt x="191" y="204"/>
                    <a:pt x="190" y="206"/>
                    <a:pt x="190" y="206"/>
                  </a:cubicBezTo>
                  <a:cubicBezTo>
                    <a:pt x="162" y="250"/>
                    <a:pt x="162" y="250"/>
                    <a:pt x="162" y="250"/>
                  </a:cubicBezTo>
                  <a:cubicBezTo>
                    <a:pt x="162" y="250"/>
                    <a:pt x="160" y="250"/>
                    <a:pt x="159" y="250"/>
                  </a:cubicBezTo>
                  <a:cubicBezTo>
                    <a:pt x="147" y="250"/>
                    <a:pt x="147" y="250"/>
                    <a:pt x="147" y="250"/>
                  </a:cubicBezTo>
                  <a:cubicBezTo>
                    <a:pt x="146" y="249"/>
                    <a:pt x="145" y="249"/>
                    <a:pt x="145" y="249"/>
                  </a:cubicBezTo>
                  <a:cubicBezTo>
                    <a:pt x="144" y="249"/>
                    <a:pt x="144" y="249"/>
                    <a:pt x="144" y="250"/>
                  </a:cubicBezTo>
                  <a:cubicBezTo>
                    <a:pt x="126" y="267"/>
                    <a:pt x="126" y="267"/>
                    <a:pt x="126" y="267"/>
                  </a:cubicBezTo>
                  <a:cubicBezTo>
                    <a:pt x="125" y="268"/>
                    <a:pt x="125" y="269"/>
                    <a:pt x="125" y="271"/>
                  </a:cubicBezTo>
                  <a:cubicBezTo>
                    <a:pt x="128" y="288"/>
                    <a:pt x="128" y="288"/>
                    <a:pt x="128" y="288"/>
                  </a:cubicBezTo>
                  <a:cubicBezTo>
                    <a:pt x="126" y="289"/>
                    <a:pt x="127" y="290"/>
                    <a:pt x="129" y="290"/>
                  </a:cubicBezTo>
                  <a:cubicBezTo>
                    <a:pt x="129" y="290"/>
                    <a:pt x="129" y="290"/>
                    <a:pt x="129" y="290"/>
                  </a:cubicBezTo>
                  <a:cubicBezTo>
                    <a:pt x="140" y="287"/>
                    <a:pt x="140" y="287"/>
                    <a:pt x="140" y="287"/>
                  </a:cubicBezTo>
                  <a:cubicBezTo>
                    <a:pt x="142" y="287"/>
                    <a:pt x="142" y="285"/>
                    <a:pt x="142" y="285"/>
                  </a:cubicBezTo>
                  <a:cubicBezTo>
                    <a:pt x="141" y="275"/>
                    <a:pt x="141" y="275"/>
                    <a:pt x="141" y="275"/>
                  </a:cubicBezTo>
                  <a:cubicBezTo>
                    <a:pt x="141" y="274"/>
                    <a:pt x="140" y="272"/>
                    <a:pt x="142" y="272"/>
                  </a:cubicBezTo>
                  <a:cubicBezTo>
                    <a:pt x="149" y="266"/>
                    <a:pt x="149" y="266"/>
                    <a:pt x="149" y="266"/>
                  </a:cubicBezTo>
                  <a:cubicBezTo>
                    <a:pt x="150" y="264"/>
                    <a:pt x="152" y="263"/>
                    <a:pt x="153" y="263"/>
                  </a:cubicBezTo>
                  <a:cubicBezTo>
                    <a:pt x="163" y="264"/>
                    <a:pt x="163" y="264"/>
                    <a:pt x="163" y="264"/>
                  </a:cubicBezTo>
                  <a:cubicBezTo>
                    <a:pt x="164" y="266"/>
                    <a:pt x="165" y="265"/>
                    <a:pt x="165" y="267"/>
                  </a:cubicBezTo>
                  <a:cubicBezTo>
                    <a:pt x="171" y="276"/>
                    <a:pt x="171" y="276"/>
                    <a:pt x="171" y="276"/>
                  </a:cubicBezTo>
                  <a:cubicBezTo>
                    <a:pt x="173" y="277"/>
                    <a:pt x="171" y="279"/>
                    <a:pt x="171" y="279"/>
                  </a:cubicBezTo>
                  <a:cubicBezTo>
                    <a:pt x="169" y="289"/>
                    <a:pt x="169" y="289"/>
                    <a:pt x="169" y="289"/>
                  </a:cubicBezTo>
                  <a:cubicBezTo>
                    <a:pt x="167" y="289"/>
                    <a:pt x="167" y="291"/>
                    <a:pt x="166" y="291"/>
                  </a:cubicBezTo>
                  <a:cubicBezTo>
                    <a:pt x="165" y="292"/>
                    <a:pt x="165" y="292"/>
                    <a:pt x="164" y="292"/>
                  </a:cubicBezTo>
                  <a:cubicBezTo>
                    <a:pt x="157" y="295"/>
                    <a:pt x="157" y="295"/>
                    <a:pt x="157" y="295"/>
                  </a:cubicBezTo>
                  <a:cubicBezTo>
                    <a:pt x="155" y="295"/>
                    <a:pt x="154" y="296"/>
                    <a:pt x="154" y="296"/>
                  </a:cubicBezTo>
                  <a:cubicBezTo>
                    <a:pt x="154" y="296"/>
                    <a:pt x="154" y="296"/>
                    <a:pt x="154" y="297"/>
                  </a:cubicBezTo>
                  <a:cubicBezTo>
                    <a:pt x="156" y="308"/>
                    <a:pt x="156" y="308"/>
                    <a:pt x="156" y="308"/>
                  </a:cubicBezTo>
                  <a:cubicBezTo>
                    <a:pt x="157" y="309"/>
                    <a:pt x="157" y="309"/>
                    <a:pt x="158" y="309"/>
                  </a:cubicBezTo>
                  <a:cubicBezTo>
                    <a:pt x="158" y="309"/>
                    <a:pt x="158" y="309"/>
                    <a:pt x="158" y="309"/>
                  </a:cubicBezTo>
                  <a:cubicBezTo>
                    <a:pt x="177" y="304"/>
                    <a:pt x="177" y="304"/>
                    <a:pt x="177" y="304"/>
                  </a:cubicBezTo>
                  <a:cubicBezTo>
                    <a:pt x="177" y="304"/>
                    <a:pt x="178" y="302"/>
                    <a:pt x="180" y="302"/>
                  </a:cubicBezTo>
                  <a:cubicBezTo>
                    <a:pt x="181" y="298"/>
                    <a:pt x="182" y="295"/>
                    <a:pt x="183" y="292"/>
                  </a:cubicBezTo>
                  <a:cubicBezTo>
                    <a:pt x="187" y="280"/>
                    <a:pt x="188" y="279"/>
                    <a:pt x="188" y="278"/>
                  </a:cubicBezTo>
                  <a:cubicBezTo>
                    <a:pt x="188" y="278"/>
                    <a:pt x="188" y="278"/>
                    <a:pt x="188" y="278"/>
                  </a:cubicBezTo>
                  <a:cubicBezTo>
                    <a:pt x="187" y="277"/>
                    <a:pt x="187" y="275"/>
                    <a:pt x="187" y="274"/>
                  </a:cubicBezTo>
                  <a:cubicBezTo>
                    <a:pt x="180" y="264"/>
                    <a:pt x="180" y="264"/>
                    <a:pt x="180" y="264"/>
                  </a:cubicBezTo>
                  <a:close/>
                  <a:moveTo>
                    <a:pt x="255" y="184"/>
                  </a:moveTo>
                  <a:cubicBezTo>
                    <a:pt x="249" y="167"/>
                    <a:pt x="227" y="135"/>
                    <a:pt x="189" y="134"/>
                  </a:cubicBezTo>
                  <a:cubicBezTo>
                    <a:pt x="172" y="134"/>
                    <a:pt x="172" y="134"/>
                    <a:pt x="172" y="134"/>
                  </a:cubicBezTo>
                  <a:cubicBezTo>
                    <a:pt x="172" y="134"/>
                    <a:pt x="172" y="134"/>
                    <a:pt x="172" y="134"/>
                  </a:cubicBezTo>
                  <a:cubicBezTo>
                    <a:pt x="122" y="134"/>
                    <a:pt x="122" y="134"/>
                    <a:pt x="122" y="134"/>
                  </a:cubicBezTo>
                  <a:cubicBezTo>
                    <a:pt x="122" y="134"/>
                    <a:pt x="122" y="134"/>
                    <a:pt x="122" y="134"/>
                  </a:cubicBezTo>
                  <a:cubicBezTo>
                    <a:pt x="111" y="134"/>
                    <a:pt x="111" y="134"/>
                    <a:pt x="111" y="134"/>
                  </a:cubicBezTo>
                  <a:cubicBezTo>
                    <a:pt x="109" y="134"/>
                    <a:pt x="109" y="134"/>
                    <a:pt x="109" y="134"/>
                  </a:cubicBezTo>
                  <a:cubicBezTo>
                    <a:pt x="100" y="134"/>
                    <a:pt x="100" y="134"/>
                    <a:pt x="100" y="134"/>
                  </a:cubicBezTo>
                  <a:cubicBezTo>
                    <a:pt x="61" y="135"/>
                    <a:pt x="38" y="167"/>
                    <a:pt x="33" y="185"/>
                  </a:cubicBezTo>
                  <a:cubicBezTo>
                    <a:pt x="0" y="292"/>
                    <a:pt x="0" y="292"/>
                    <a:pt x="0" y="292"/>
                  </a:cubicBezTo>
                  <a:cubicBezTo>
                    <a:pt x="48" y="292"/>
                    <a:pt x="48" y="292"/>
                    <a:pt x="48" y="292"/>
                  </a:cubicBezTo>
                  <a:cubicBezTo>
                    <a:pt x="69" y="221"/>
                    <a:pt x="69" y="221"/>
                    <a:pt x="69" y="221"/>
                  </a:cubicBezTo>
                  <a:cubicBezTo>
                    <a:pt x="83" y="221"/>
                    <a:pt x="83" y="221"/>
                    <a:pt x="83" y="221"/>
                  </a:cubicBezTo>
                  <a:cubicBezTo>
                    <a:pt x="63" y="292"/>
                    <a:pt x="63" y="292"/>
                    <a:pt x="63" y="292"/>
                  </a:cubicBezTo>
                  <a:cubicBezTo>
                    <a:pt x="120" y="292"/>
                    <a:pt x="120" y="292"/>
                    <a:pt x="120" y="292"/>
                  </a:cubicBezTo>
                  <a:cubicBezTo>
                    <a:pt x="119" y="291"/>
                    <a:pt x="119" y="291"/>
                    <a:pt x="119" y="290"/>
                  </a:cubicBezTo>
                  <a:cubicBezTo>
                    <a:pt x="119" y="289"/>
                    <a:pt x="119" y="287"/>
                    <a:pt x="119" y="286"/>
                  </a:cubicBezTo>
                  <a:cubicBezTo>
                    <a:pt x="117" y="272"/>
                    <a:pt x="117" y="272"/>
                    <a:pt x="117" y="272"/>
                  </a:cubicBezTo>
                  <a:cubicBezTo>
                    <a:pt x="116" y="265"/>
                    <a:pt x="119" y="262"/>
                    <a:pt x="121" y="261"/>
                  </a:cubicBezTo>
                  <a:cubicBezTo>
                    <a:pt x="137" y="246"/>
                    <a:pt x="137" y="246"/>
                    <a:pt x="137" y="246"/>
                  </a:cubicBezTo>
                  <a:cubicBezTo>
                    <a:pt x="137" y="246"/>
                    <a:pt x="137" y="245"/>
                    <a:pt x="138" y="244"/>
                  </a:cubicBezTo>
                  <a:cubicBezTo>
                    <a:pt x="139" y="242"/>
                    <a:pt x="142" y="241"/>
                    <a:pt x="145" y="241"/>
                  </a:cubicBezTo>
                  <a:cubicBezTo>
                    <a:pt x="146" y="241"/>
                    <a:pt x="148" y="241"/>
                    <a:pt x="149" y="242"/>
                  </a:cubicBezTo>
                  <a:cubicBezTo>
                    <a:pt x="157" y="242"/>
                    <a:pt x="157" y="242"/>
                    <a:pt x="157" y="242"/>
                  </a:cubicBezTo>
                  <a:cubicBezTo>
                    <a:pt x="181" y="205"/>
                    <a:pt x="181" y="205"/>
                    <a:pt x="181" y="205"/>
                  </a:cubicBezTo>
                  <a:cubicBezTo>
                    <a:pt x="177" y="196"/>
                    <a:pt x="177" y="196"/>
                    <a:pt x="177" y="196"/>
                  </a:cubicBezTo>
                  <a:cubicBezTo>
                    <a:pt x="176" y="195"/>
                    <a:pt x="176" y="195"/>
                    <a:pt x="176" y="195"/>
                  </a:cubicBezTo>
                  <a:cubicBezTo>
                    <a:pt x="176" y="194"/>
                    <a:pt x="176" y="194"/>
                    <a:pt x="176" y="194"/>
                  </a:cubicBezTo>
                  <a:cubicBezTo>
                    <a:pt x="175" y="191"/>
                    <a:pt x="175" y="191"/>
                    <a:pt x="175" y="191"/>
                  </a:cubicBezTo>
                  <a:cubicBezTo>
                    <a:pt x="175" y="189"/>
                    <a:pt x="175" y="189"/>
                    <a:pt x="175" y="189"/>
                  </a:cubicBezTo>
                  <a:cubicBezTo>
                    <a:pt x="175" y="187"/>
                    <a:pt x="175" y="187"/>
                    <a:pt x="175" y="187"/>
                  </a:cubicBezTo>
                  <a:cubicBezTo>
                    <a:pt x="183" y="165"/>
                    <a:pt x="183" y="165"/>
                    <a:pt x="183" y="165"/>
                  </a:cubicBezTo>
                  <a:cubicBezTo>
                    <a:pt x="183" y="162"/>
                    <a:pt x="185" y="158"/>
                    <a:pt x="191" y="156"/>
                  </a:cubicBezTo>
                  <a:cubicBezTo>
                    <a:pt x="207" y="150"/>
                    <a:pt x="207" y="150"/>
                    <a:pt x="207" y="150"/>
                  </a:cubicBezTo>
                  <a:cubicBezTo>
                    <a:pt x="208" y="150"/>
                    <a:pt x="208" y="150"/>
                    <a:pt x="208" y="150"/>
                  </a:cubicBezTo>
                  <a:cubicBezTo>
                    <a:pt x="209" y="149"/>
                    <a:pt x="209" y="149"/>
                    <a:pt x="209" y="149"/>
                  </a:cubicBezTo>
                  <a:cubicBezTo>
                    <a:pt x="209" y="149"/>
                    <a:pt x="210" y="149"/>
                    <a:pt x="211" y="149"/>
                  </a:cubicBezTo>
                  <a:cubicBezTo>
                    <a:pt x="214" y="149"/>
                    <a:pt x="217" y="151"/>
                    <a:pt x="218" y="151"/>
                  </a:cubicBezTo>
                  <a:cubicBezTo>
                    <a:pt x="221" y="153"/>
                    <a:pt x="221" y="153"/>
                    <a:pt x="221" y="153"/>
                  </a:cubicBezTo>
                  <a:cubicBezTo>
                    <a:pt x="222" y="156"/>
                    <a:pt x="222" y="156"/>
                    <a:pt x="222" y="156"/>
                  </a:cubicBezTo>
                  <a:cubicBezTo>
                    <a:pt x="224" y="167"/>
                    <a:pt x="224" y="167"/>
                    <a:pt x="224" y="167"/>
                  </a:cubicBezTo>
                  <a:cubicBezTo>
                    <a:pt x="225" y="170"/>
                    <a:pt x="225" y="170"/>
                    <a:pt x="225" y="170"/>
                  </a:cubicBezTo>
                  <a:cubicBezTo>
                    <a:pt x="225" y="173"/>
                    <a:pt x="225" y="173"/>
                    <a:pt x="225" y="173"/>
                  </a:cubicBezTo>
                  <a:cubicBezTo>
                    <a:pt x="227" y="172"/>
                    <a:pt x="228" y="171"/>
                    <a:pt x="228" y="171"/>
                  </a:cubicBezTo>
                  <a:cubicBezTo>
                    <a:pt x="239" y="169"/>
                    <a:pt x="239" y="169"/>
                    <a:pt x="239" y="169"/>
                  </a:cubicBezTo>
                  <a:cubicBezTo>
                    <a:pt x="240" y="169"/>
                    <a:pt x="240" y="169"/>
                    <a:pt x="241" y="169"/>
                  </a:cubicBezTo>
                  <a:cubicBezTo>
                    <a:pt x="246" y="169"/>
                    <a:pt x="250" y="172"/>
                    <a:pt x="250" y="176"/>
                  </a:cubicBezTo>
                  <a:cubicBezTo>
                    <a:pt x="251" y="178"/>
                    <a:pt x="251" y="178"/>
                    <a:pt x="251" y="178"/>
                  </a:cubicBezTo>
                  <a:cubicBezTo>
                    <a:pt x="251" y="178"/>
                    <a:pt x="251" y="178"/>
                    <a:pt x="251" y="178"/>
                  </a:cubicBezTo>
                  <a:cubicBezTo>
                    <a:pt x="251" y="179"/>
                    <a:pt x="251" y="179"/>
                    <a:pt x="251" y="179"/>
                  </a:cubicBezTo>
                  <a:cubicBezTo>
                    <a:pt x="253" y="196"/>
                    <a:pt x="253" y="196"/>
                    <a:pt x="253" y="196"/>
                  </a:cubicBezTo>
                  <a:cubicBezTo>
                    <a:pt x="254" y="199"/>
                    <a:pt x="254" y="199"/>
                    <a:pt x="254" y="199"/>
                  </a:cubicBezTo>
                  <a:cubicBezTo>
                    <a:pt x="252" y="201"/>
                    <a:pt x="252" y="201"/>
                    <a:pt x="252" y="201"/>
                  </a:cubicBezTo>
                  <a:cubicBezTo>
                    <a:pt x="251" y="203"/>
                    <a:pt x="251" y="203"/>
                    <a:pt x="251" y="203"/>
                  </a:cubicBezTo>
                  <a:cubicBezTo>
                    <a:pt x="250" y="204"/>
                    <a:pt x="250" y="204"/>
                    <a:pt x="250" y="204"/>
                  </a:cubicBezTo>
                  <a:cubicBezTo>
                    <a:pt x="250" y="205"/>
                    <a:pt x="250" y="205"/>
                    <a:pt x="250" y="205"/>
                  </a:cubicBezTo>
                  <a:cubicBezTo>
                    <a:pt x="232" y="221"/>
                    <a:pt x="232" y="221"/>
                    <a:pt x="232" y="221"/>
                  </a:cubicBezTo>
                  <a:cubicBezTo>
                    <a:pt x="230" y="225"/>
                    <a:pt x="226" y="226"/>
                    <a:pt x="225" y="226"/>
                  </a:cubicBezTo>
                  <a:cubicBezTo>
                    <a:pt x="224" y="226"/>
                    <a:pt x="224" y="226"/>
                    <a:pt x="224" y="226"/>
                  </a:cubicBezTo>
                  <a:cubicBezTo>
                    <a:pt x="222" y="226"/>
                    <a:pt x="222" y="226"/>
                    <a:pt x="222" y="226"/>
                  </a:cubicBezTo>
                  <a:cubicBezTo>
                    <a:pt x="220" y="226"/>
                    <a:pt x="220" y="226"/>
                    <a:pt x="220" y="226"/>
                  </a:cubicBezTo>
                  <a:cubicBezTo>
                    <a:pt x="240" y="292"/>
                    <a:pt x="240" y="292"/>
                    <a:pt x="240" y="292"/>
                  </a:cubicBezTo>
                  <a:cubicBezTo>
                    <a:pt x="287" y="292"/>
                    <a:pt x="287" y="292"/>
                    <a:pt x="287" y="292"/>
                  </a:cubicBezTo>
                  <a:lnTo>
                    <a:pt x="255" y="184"/>
                  </a:lnTo>
                  <a:close/>
                  <a:moveTo>
                    <a:pt x="188" y="263"/>
                  </a:moveTo>
                  <a:cubicBezTo>
                    <a:pt x="193" y="269"/>
                    <a:pt x="193" y="269"/>
                    <a:pt x="193" y="269"/>
                  </a:cubicBezTo>
                  <a:cubicBezTo>
                    <a:pt x="194" y="270"/>
                    <a:pt x="194" y="270"/>
                    <a:pt x="194" y="270"/>
                  </a:cubicBezTo>
                  <a:cubicBezTo>
                    <a:pt x="194" y="272"/>
                    <a:pt x="194" y="272"/>
                    <a:pt x="194" y="272"/>
                  </a:cubicBezTo>
                  <a:cubicBezTo>
                    <a:pt x="195" y="275"/>
                    <a:pt x="195" y="275"/>
                    <a:pt x="195" y="275"/>
                  </a:cubicBezTo>
                  <a:cubicBezTo>
                    <a:pt x="195" y="277"/>
                    <a:pt x="195" y="277"/>
                    <a:pt x="195" y="277"/>
                  </a:cubicBezTo>
                  <a:cubicBezTo>
                    <a:pt x="196" y="279"/>
                    <a:pt x="196" y="279"/>
                    <a:pt x="196" y="279"/>
                  </a:cubicBezTo>
                  <a:cubicBezTo>
                    <a:pt x="195" y="281"/>
                    <a:pt x="195" y="281"/>
                    <a:pt x="195" y="281"/>
                  </a:cubicBezTo>
                  <a:cubicBezTo>
                    <a:pt x="191" y="292"/>
                    <a:pt x="191" y="292"/>
                    <a:pt x="191" y="292"/>
                  </a:cubicBezTo>
                  <a:cubicBezTo>
                    <a:pt x="225" y="292"/>
                    <a:pt x="225" y="292"/>
                    <a:pt x="225" y="292"/>
                  </a:cubicBezTo>
                  <a:cubicBezTo>
                    <a:pt x="208" y="233"/>
                    <a:pt x="208" y="233"/>
                    <a:pt x="208" y="233"/>
                  </a:cubicBezTo>
                  <a:lnTo>
                    <a:pt x="188" y="26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algn="ctr" defTabSz="914225"/>
              <a:endParaRPr lang="en-US">
                <a:solidFill>
                  <a:srgbClr val="505050"/>
                </a:solidFill>
              </a:endParaRPr>
            </a:p>
          </p:txBody>
        </p:sp>
        <p:sp>
          <p:nvSpPr>
            <p:cNvPr id="18" name="Freeform 5"/>
            <p:cNvSpPr>
              <a:spLocks noChangeAspect="1" noEditPoints="1"/>
            </p:cNvSpPr>
            <p:nvPr/>
          </p:nvSpPr>
          <p:spPr bwMode="auto">
            <a:xfrm>
              <a:off x="9130727" y="1886719"/>
              <a:ext cx="633114" cy="664924"/>
            </a:xfrm>
            <a:custGeom>
              <a:avLst/>
              <a:gdLst>
                <a:gd name="T0" fmla="*/ 81 w 258"/>
                <a:gd name="T1" fmla="*/ 52 h 271"/>
                <a:gd name="T2" fmla="*/ 131 w 258"/>
                <a:gd name="T3" fmla="*/ 0 h 271"/>
                <a:gd name="T4" fmla="*/ 132 w 258"/>
                <a:gd name="T5" fmla="*/ 103 h 271"/>
                <a:gd name="T6" fmla="*/ 96 w 258"/>
                <a:gd name="T7" fmla="*/ 89 h 271"/>
                <a:gd name="T8" fmla="*/ 217 w 258"/>
                <a:gd name="T9" fmla="*/ 263 h 271"/>
                <a:gd name="T10" fmla="*/ 118 w 258"/>
                <a:gd name="T11" fmla="*/ 271 h 271"/>
                <a:gd name="T12" fmla="*/ 110 w 258"/>
                <a:gd name="T13" fmla="*/ 197 h 271"/>
                <a:gd name="T14" fmla="*/ 209 w 258"/>
                <a:gd name="T15" fmla="*/ 189 h 271"/>
                <a:gd name="T16" fmla="*/ 203 w 258"/>
                <a:gd name="T17" fmla="*/ 253 h 271"/>
                <a:gd name="T18" fmla="*/ 124 w 258"/>
                <a:gd name="T19" fmla="*/ 203 h 271"/>
                <a:gd name="T20" fmla="*/ 203 w 258"/>
                <a:gd name="T21" fmla="*/ 253 h 271"/>
                <a:gd name="T22" fmla="*/ 164 w 258"/>
                <a:gd name="T23" fmla="*/ 266 h 271"/>
                <a:gd name="T24" fmla="*/ 160 w 258"/>
                <a:gd name="T25" fmla="*/ 262 h 271"/>
                <a:gd name="T26" fmla="*/ 164 w 258"/>
                <a:gd name="T27" fmla="*/ 266 h 271"/>
                <a:gd name="T28" fmla="*/ 164 w 258"/>
                <a:gd name="T29" fmla="*/ 261 h 271"/>
                <a:gd name="T30" fmla="*/ 160 w 258"/>
                <a:gd name="T31" fmla="*/ 259 h 271"/>
                <a:gd name="T32" fmla="*/ 164 w 258"/>
                <a:gd name="T33" fmla="*/ 261 h 271"/>
                <a:gd name="T34" fmla="*/ 170 w 258"/>
                <a:gd name="T35" fmla="*/ 266 h 271"/>
                <a:gd name="T36" fmla="*/ 164 w 258"/>
                <a:gd name="T37" fmla="*/ 262 h 271"/>
                <a:gd name="T38" fmla="*/ 170 w 258"/>
                <a:gd name="T39" fmla="*/ 266 h 271"/>
                <a:gd name="T40" fmla="*/ 170 w 258"/>
                <a:gd name="T41" fmla="*/ 261 h 271"/>
                <a:gd name="T42" fmla="*/ 164 w 258"/>
                <a:gd name="T43" fmla="*/ 258 h 271"/>
                <a:gd name="T44" fmla="*/ 170 w 258"/>
                <a:gd name="T45" fmla="*/ 261 h 271"/>
                <a:gd name="T46" fmla="*/ 62 w 258"/>
                <a:gd name="T47" fmla="*/ 262 h 271"/>
                <a:gd name="T48" fmla="*/ 75 w 258"/>
                <a:gd name="T49" fmla="*/ 198 h 271"/>
                <a:gd name="T50" fmla="*/ 43 w 258"/>
                <a:gd name="T51" fmla="*/ 262 h 271"/>
                <a:gd name="T52" fmla="*/ 0 w 258"/>
                <a:gd name="T53" fmla="*/ 262 h 271"/>
                <a:gd name="T54" fmla="*/ 88 w 258"/>
                <a:gd name="T55" fmla="*/ 120 h 271"/>
                <a:gd name="T56" fmla="*/ 168 w 258"/>
                <a:gd name="T57" fmla="*/ 120 h 271"/>
                <a:gd name="T58" fmla="*/ 229 w 258"/>
                <a:gd name="T59" fmla="*/ 165 h 271"/>
                <a:gd name="T60" fmla="*/ 223 w 258"/>
                <a:gd name="T61" fmla="*/ 262 h 271"/>
                <a:gd name="T62" fmla="*/ 209 w 258"/>
                <a:gd name="T63" fmla="*/ 183 h 271"/>
                <a:gd name="T64" fmla="*/ 104 w 258"/>
                <a:gd name="T65" fmla="*/ 197 h 271"/>
                <a:gd name="T66" fmla="*/ 223 w 258"/>
                <a:gd name="T67" fmla="*/ 154 h 271"/>
                <a:gd name="T68" fmla="*/ 223 w 258"/>
                <a:gd name="T69" fmla="*/ 154 h 271"/>
                <a:gd name="T70" fmla="*/ 33 w 258"/>
                <a:gd name="T71" fmla="*/ 157 h 2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58" h="271">
                  <a:moveTo>
                    <a:pt x="96" y="89"/>
                  </a:moveTo>
                  <a:cubicBezTo>
                    <a:pt x="86" y="79"/>
                    <a:pt x="81" y="66"/>
                    <a:pt x="81" y="52"/>
                  </a:cubicBezTo>
                  <a:cubicBezTo>
                    <a:pt x="81" y="38"/>
                    <a:pt x="85" y="25"/>
                    <a:pt x="95" y="15"/>
                  </a:cubicBezTo>
                  <a:cubicBezTo>
                    <a:pt x="105" y="5"/>
                    <a:pt x="118" y="0"/>
                    <a:pt x="131" y="0"/>
                  </a:cubicBezTo>
                  <a:cubicBezTo>
                    <a:pt x="159" y="0"/>
                    <a:pt x="182" y="23"/>
                    <a:pt x="182" y="51"/>
                  </a:cubicBezTo>
                  <a:cubicBezTo>
                    <a:pt x="182" y="80"/>
                    <a:pt x="160" y="103"/>
                    <a:pt x="132" y="103"/>
                  </a:cubicBezTo>
                  <a:cubicBezTo>
                    <a:pt x="131" y="103"/>
                    <a:pt x="131" y="103"/>
                    <a:pt x="131" y="103"/>
                  </a:cubicBezTo>
                  <a:cubicBezTo>
                    <a:pt x="118" y="103"/>
                    <a:pt x="105" y="99"/>
                    <a:pt x="96" y="89"/>
                  </a:cubicBezTo>
                  <a:close/>
                  <a:moveTo>
                    <a:pt x="217" y="197"/>
                  </a:moveTo>
                  <a:cubicBezTo>
                    <a:pt x="217" y="263"/>
                    <a:pt x="217" y="263"/>
                    <a:pt x="217" y="263"/>
                  </a:cubicBezTo>
                  <a:cubicBezTo>
                    <a:pt x="217" y="267"/>
                    <a:pt x="213" y="271"/>
                    <a:pt x="209" y="271"/>
                  </a:cubicBezTo>
                  <a:cubicBezTo>
                    <a:pt x="118" y="271"/>
                    <a:pt x="118" y="271"/>
                    <a:pt x="118" y="271"/>
                  </a:cubicBezTo>
                  <a:cubicBezTo>
                    <a:pt x="114" y="271"/>
                    <a:pt x="110" y="267"/>
                    <a:pt x="110" y="263"/>
                  </a:cubicBezTo>
                  <a:cubicBezTo>
                    <a:pt x="110" y="197"/>
                    <a:pt x="110" y="197"/>
                    <a:pt x="110" y="197"/>
                  </a:cubicBezTo>
                  <a:cubicBezTo>
                    <a:pt x="110" y="193"/>
                    <a:pt x="113" y="189"/>
                    <a:pt x="118" y="189"/>
                  </a:cubicBezTo>
                  <a:cubicBezTo>
                    <a:pt x="209" y="189"/>
                    <a:pt x="209" y="189"/>
                    <a:pt x="209" y="189"/>
                  </a:cubicBezTo>
                  <a:cubicBezTo>
                    <a:pt x="214" y="189"/>
                    <a:pt x="217" y="193"/>
                    <a:pt x="217" y="197"/>
                  </a:cubicBezTo>
                  <a:close/>
                  <a:moveTo>
                    <a:pt x="203" y="253"/>
                  </a:moveTo>
                  <a:cubicBezTo>
                    <a:pt x="203" y="203"/>
                    <a:pt x="203" y="203"/>
                    <a:pt x="203" y="203"/>
                  </a:cubicBezTo>
                  <a:cubicBezTo>
                    <a:pt x="124" y="203"/>
                    <a:pt x="124" y="203"/>
                    <a:pt x="124" y="203"/>
                  </a:cubicBezTo>
                  <a:cubicBezTo>
                    <a:pt x="124" y="253"/>
                    <a:pt x="124" y="253"/>
                    <a:pt x="124" y="253"/>
                  </a:cubicBezTo>
                  <a:lnTo>
                    <a:pt x="203" y="253"/>
                  </a:lnTo>
                  <a:close/>
                  <a:moveTo>
                    <a:pt x="164" y="266"/>
                  </a:moveTo>
                  <a:cubicBezTo>
                    <a:pt x="164" y="266"/>
                    <a:pt x="164" y="266"/>
                    <a:pt x="164" y="266"/>
                  </a:cubicBezTo>
                  <a:cubicBezTo>
                    <a:pt x="164" y="262"/>
                    <a:pt x="164" y="262"/>
                    <a:pt x="164" y="262"/>
                  </a:cubicBezTo>
                  <a:cubicBezTo>
                    <a:pt x="164" y="262"/>
                    <a:pt x="164" y="262"/>
                    <a:pt x="160" y="262"/>
                  </a:cubicBezTo>
                  <a:cubicBezTo>
                    <a:pt x="160" y="262"/>
                    <a:pt x="160" y="262"/>
                    <a:pt x="160" y="265"/>
                  </a:cubicBezTo>
                  <a:cubicBezTo>
                    <a:pt x="160" y="265"/>
                    <a:pt x="160" y="265"/>
                    <a:pt x="164" y="266"/>
                  </a:cubicBezTo>
                  <a:close/>
                  <a:moveTo>
                    <a:pt x="164" y="261"/>
                  </a:moveTo>
                  <a:cubicBezTo>
                    <a:pt x="164" y="261"/>
                    <a:pt x="164" y="261"/>
                    <a:pt x="164" y="261"/>
                  </a:cubicBezTo>
                  <a:cubicBezTo>
                    <a:pt x="164" y="258"/>
                    <a:pt x="164" y="258"/>
                    <a:pt x="164" y="258"/>
                  </a:cubicBezTo>
                  <a:cubicBezTo>
                    <a:pt x="164" y="258"/>
                    <a:pt x="164" y="258"/>
                    <a:pt x="160" y="259"/>
                  </a:cubicBezTo>
                  <a:cubicBezTo>
                    <a:pt x="160" y="259"/>
                    <a:pt x="160" y="259"/>
                    <a:pt x="160" y="261"/>
                  </a:cubicBezTo>
                  <a:cubicBezTo>
                    <a:pt x="160" y="261"/>
                    <a:pt x="160" y="261"/>
                    <a:pt x="164" y="261"/>
                  </a:cubicBezTo>
                  <a:close/>
                  <a:moveTo>
                    <a:pt x="170" y="266"/>
                  </a:moveTo>
                  <a:cubicBezTo>
                    <a:pt x="170" y="266"/>
                    <a:pt x="170" y="266"/>
                    <a:pt x="170" y="266"/>
                  </a:cubicBezTo>
                  <a:cubicBezTo>
                    <a:pt x="170" y="262"/>
                    <a:pt x="170" y="262"/>
                    <a:pt x="170" y="262"/>
                  </a:cubicBezTo>
                  <a:cubicBezTo>
                    <a:pt x="170" y="262"/>
                    <a:pt x="170" y="262"/>
                    <a:pt x="164" y="262"/>
                  </a:cubicBezTo>
                  <a:cubicBezTo>
                    <a:pt x="164" y="262"/>
                    <a:pt x="164" y="262"/>
                    <a:pt x="164" y="266"/>
                  </a:cubicBezTo>
                  <a:cubicBezTo>
                    <a:pt x="164" y="266"/>
                    <a:pt x="164" y="266"/>
                    <a:pt x="170" y="266"/>
                  </a:cubicBezTo>
                  <a:close/>
                  <a:moveTo>
                    <a:pt x="170" y="261"/>
                  </a:moveTo>
                  <a:cubicBezTo>
                    <a:pt x="170" y="261"/>
                    <a:pt x="170" y="261"/>
                    <a:pt x="170" y="261"/>
                  </a:cubicBezTo>
                  <a:cubicBezTo>
                    <a:pt x="170" y="257"/>
                    <a:pt x="170" y="257"/>
                    <a:pt x="170" y="257"/>
                  </a:cubicBezTo>
                  <a:cubicBezTo>
                    <a:pt x="170" y="257"/>
                    <a:pt x="170" y="257"/>
                    <a:pt x="164" y="258"/>
                  </a:cubicBezTo>
                  <a:cubicBezTo>
                    <a:pt x="164" y="258"/>
                    <a:pt x="164" y="258"/>
                    <a:pt x="164" y="261"/>
                  </a:cubicBezTo>
                  <a:cubicBezTo>
                    <a:pt x="164" y="261"/>
                    <a:pt x="164" y="261"/>
                    <a:pt x="170" y="261"/>
                  </a:cubicBezTo>
                  <a:close/>
                  <a:moveTo>
                    <a:pt x="104" y="262"/>
                  </a:moveTo>
                  <a:cubicBezTo>
                    <a:pt x="62" y="262"/>
                    <a:pt x="62" y="262"/>
                    <a:pt x="62" y="262"/>
                  </a:cubicBezTo>
                  <a:cubicBezTo>
                    <a:pt x="57" y="262"/>
                    <a:pt x="57" y="262"/>
                    <a:pt x="57" y="262"/>
                  </a:cubicBezTo>
                  <a:cubicBezTo>
                    <a:pt x="57" y="262"/>
                    <a:pt x="57" y="262"/>
                    <a:pt x="75" y="198"/>
                  </a:cubicBezTo>
                  <a:cubicBezTo>
                    <a:pt x="75" y="198"/>
                    <a:pt x="75" y="198"/>
                    <a:pt x="62" y="198"/>
                  </a:cubicBezTo>
                  <a:cubicBezTo>
                    <a:pt x="62" y="198"/>
                    <a:pt x="62" y="198"/>
                    <a:pt x="43" y="262"/>
                  </a:cubicBezTo>
                  <a:cubicBezTo>
                    <a:pt x="43" y="262"/>
                    <a:pt x="43" y="262"/>
                    <a:pt x="42" y="262"/>
                  </a:cubicBezTo>
                  <a:cubicBezTo>
                    <a:pt x="40" y="262"/>
                    <a:pt x="31" y="262"/>
                    <a:pt x="0" y="262"/>
                  </a:cubicBezTo>
                  <a:cubicBezTo>
                    <a:pt x="29" y="165"/>
                    <a:pt x="29" y="165"/>
                    <a:pt x="29" y="165"/>
                  </a:cubicBezTo>
                  <a:cubicBezTo>
                    <a:pt x="34" y="150"/>
                    <a:pt x="54" y="121"/>
                    <a:pt x="88" y="120"/>
                  </a:cubicBezTo>
                  <a:cubicBezTo>
                    <a:pt x="89" y="120"/>
                    <a:pt x="89" y="120"/>
                    <a:pt x="90" y="120"/>
                  </a:cubicBezTo>
                  <a:cubicBezTo>
                    <a:pt x="90" y="120"/>
                    <a:pt x="165" y="120"/>
                    <a:pt x="168" y="120"/>
                  </a:cubicBezTo>
                  <a:cubicBezTo>
                    <a:pt x="169" y="120"/>
                    <a:pt x="169" y="120"/>
                    <a:pt x="170" y="120"/>
                  </a:cubicBezTo>
                  <a:cubicBezTo>
                    <a:pt x="204" y="121"/>
                    <a:pt x="224" y="150"/>
                    <a:pt x="229" y="165"/>
                  </a:cubicBezTo>
                  <a:cubicBezTo>
                    <a:pt x="258" y="262"/>
                    <a:pt x="258" y="262"/>
                    <a:pt x="258" y="262"/>
                  </a:cubicBezTo>
                  <a:cubicBezTo>
                    <a:pt x="258" y="262"/>
                    <a:pt x="258" y="262"/>
                    <a:pt x="223" y="262"/>
                  </a:cubicBezTo>
                  <a:cubicBezTo>
                    <a:pt x="223" y="197"/>
                    <a:pt x="223" y="197"/>
                    <a:pt x="223" y="197"/>
                  </a:cubicBezTo>
                  <a:cubicBezTo>
                    <a:pt x="223" y="190"/>
                    <a:pt x="217" y="183"/>
                    <a:pt x="209" y="183"/>
                  </a:cubicBezTo>
                  <a:cubicBezTo>
                    <a:pt x="118" y="183"/>
                    <a:pt x="118" y="183"/>
                    <a:pt x="118" y="183"/>
                  </a:cubicBezTo>
                  <a:cubicBezTo>
                    <a:pt x="110" y="183"/>
                    <a:pt x="104" y="190"/>
                    <a:pt x="104" y="197"/>
                  </a:cubicBezTo>
                  <a:lnTo>
                    <a:pt x="104" y="262"/>
                  </a:lnTo>
                  <a:close/>
                  <a:moveTo>
                    <a:pt x="223" y="154"/>
                  </a:moveTo>
                  <a:cubicBezTo>
                    <a:pt x="224" y="155"/>
                    <a:pt x="224" y="156"/>
                    <a:pt x="225" y="157"/>
                  </a:cubicBezTo>
                  <a:cubicBezTo>
                    <a:pt x="224" y="156"/>
                    <a:pt x="224" y="155"/>
                    <a:pt x="223" y="154"/>
                  </a:cubicBezTo>
                  <a:close/>
                  <a:moveTo>
                    <a:pt x="35" y="154"/>
                  </a:moveTo>
                  <a:cubicBezTo>
                    <a:pt x="34" y="155"/>
                    <a:pt x="34" y="156"/>
                    <a:pt x="33" y="157"/>
                  </a:cubicBezTo>
                  <a:cubicBezTo>
                    <a:pt x="34" y="156"/>
                    <a:pt x="34" y="155"/>
                    <a:pt x="35" y="1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algn="ctr" defTabSz="914225"/>
              <a:endParaRPr lang="en-US">
                <a:solidFill>
                  <a:srgbClr val="505050"/>
                </a:solidFill>
              </a:endParaRPr>
            </a:p>
          </p:txBody>
        </p:sp>
        <p:grpSp>
          <p:nvGrpSpPr>
            <p:cNvPr id="19" name="Group 4"/>
            <p:cNvGrpSpPr>
              <a:grpSpLocks/>
            </p:cNvGrpSpPr>
            <p:nvPr/>
          </p:nvGrpSpPr>
          <p:grpSpPr bwMode="auto">
            <a:xfrm>
              <a:off x="9890692" y="1712108"/>
              <a:ext cx="629033" cy="664924"/>
              <a:chOff x="3730" y="2047"/>
              <a:chExt cx="222" cy="226"/>
            </a:xfrm>
            <a:grpFill/>
          </p:grpSpPr>
          <p:sp>
            <p:nvSpPr>
              <p:cNvPr id="20" name="AutoShape 3"/>
              <p:cNvSpPr>
                <a:spLocks noChangeAspect="1" noChangeArrowheads="1" noTextEdit="1"/>
              </p:cNvSpPr>
              <p:nvPr/>
            </p:nvSpPr>
            <p:spPr bwMode="auto">
              <a:xfrm>
                <a:off x="3730" y="2047"/>
                <a:ext cx="220" cy="226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algn="ctr" defTabSz="914225"/>
                <a:endParaRPr lang="en-US" baseline="-25000">
                  <a:solidFill>
                    <a:srgbClr val="505050"/>
                  </a:solidFill>
                </a:endParaRPr>
              </a:p>
            </p:txBody>
          </p:sp>
          <p:sp>
            <p:nvSpPr>
              <p:cNvPr id="21" name="Oval 5"/>
              <p:cNvSpPr>
                <a:spLocks noChangeArrowheads="1"/>
              </p:cNvSpPr>
              <p:nvPr/>
            </p:nvSpPr>
            <p:spPr bwMode="auto">
              <a:xfrm>
                <a:off x="3798" y="2049"/>
                <a:ext cx="88" cy="88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algn="ctr" defTabSz="914225"/>
                <a:endParaRPr lang="en-US" baseline="-25000">
                  <a:solidFill>
                    <a:srgbClr val="505050"/>
                  </a:solidFill>
                </a:endParaRPr>
              </a:p>
            </p:txBody>
          </p:sp>
          <p:sp>
            <p:nvSpPr>
              <p:cNvPr id="22" name="Freeform 6"/>
              <p:cNvSpPr>
                <a:spLocks noEditPoints="1"/>
              </p:cNvSpPr>
              <p:nvPr/>
            </p:nvSpPr>
            <p:spPr bwMode="auto">
              <a:xfrm>
                <a:off x="3835" y="2181"/>
                <a:ext cx="58" cy="41"/>
              </a:xfrm>
              <a:custGeom>
                <a:avLst/>
                <a:gdLst>
                  <a:gd name="T0" fmla="*/ 12 w 24"/>
                  <a:gd name="T1" fmla="*/ 0 h 17"/>
                  <a:gd name="T2" fmla="*/ 0 w 24"/>
                  <a:gd name="T3" fmla="*/ 12 h 17"/>
                  <a:gd name="T4" fmla="*/ 0 w 24"/>
                  <a:gd name="T5" fmla="*/ 15 h 17"/>
                  <a:gd name="T6" fmla="*/ 7 w 24"/>
                  <a:gd name="T7" fmla="*/ 15 h 17"/>
                  <a:gd name="T8" fmla="*/ 12 w 24"/>
                  <a:gd name="T9" fmla="*/ 17 h 17"/>
                  <a:gd name="T10" fmla="*/ 17 w 24"/>
                  <a:gd name="T11" fmla="*/ 15 h 17"/>
                  <a:gd name="T12" fmla="*/ 21 w 24"/>
                  <a:gd name="T13" fmla="*/ 15 h 17"/>
                  <a:gd name="T14" fmla="*/ 21 w 24"/>
                  <a:gd name="T15" fmla="*/ 14 h 17"/>
                  <a:gd name="T16" fmla="*/ 24 w 24"/>
                  <a:gd name="T17" fmla="*/ 14 h 17"/>
                  <a:gd name="T18" fmla="*/ 24 w 24"/>
                  <a:gd name="T19" fmla="*/ 12 h 17"/>
                  <a:gd name="T20" fmla="*/ 12 w 24"/>
                  <a:gd name="T21" fmla="*/ 0 h 17"/>
                  <a:gd name="T22" fmla="*/ 5 w 24"/>
                  <a:gd name="T23" fmla="*/ 12 h 17"/>
                  <a:gd name="T24" fmla="*/ 3 w 24"/>
                  <a:gd name="T25" fmla="*/ 12 h 17"/>
                  <a:gd name="T26" fmla="*/ 2 w 24"/>
                  <a:gd name="T27" fmla="*/ 12 h 17"/>
                  <a:gd name="T28" fmla="*/ 3 w 24"/>
                  <a:gd name="T29" fmla="*/ 11 h 17"/>
                  <a:gd name="T30" fmla="*/ 5 w 24"/>
                  <a:gd name="T31" fmla="*/ 11 h 17"/>
                  <a:gd name="T32" fmla="*/ 5 w 24"/>
                  <a:gd name="T33" fmla="*/ 12 h 17"/>
                  <a:gd name="T34" fmla="*/ 5 w 24"/>
                  <a:gd name="T35" fmla="*/ 12 h 17"/>
                  <a:gd name="T36" fmla="*/ 7 w 24"/>
                  <a:gd name="T37" fmla="*/ 9 h 17"/>
                  <a:gd name="T38" fmla="*/ 6 w 24"/>
                  <a:gd name="T39" fmla="*/ 9 h 17"/>
                  <a:gd name="T40" fmla="*/ 6 w 24"/>
                  <a:gd name="T41" fmla="*/ 9 h 17"/>
                  <a:gd name="T42" fmla="*/ 4 w 24"/>
                  <a:gd name="T43" fmla="*/ 8 h 17"/>
                  <a:gd name="T44" fmla="*/ 4 w 24"/>
                  <a:gd name="T45" fmla="*/ 7 h 17"/>
                  <a:gd name="T46" fmla="*/ 5 w 24"/>
                  <a:gd name="T47" fmla="*/ 7 h 17"/>
                  <a:gd name="T48" fmla="*/ 6 w 24"/>
                  <a:gd name="T49" fmla="*/ 8 h 17"/>
                  <a:gd name="T50" fmla="*/ 7 w 24"/>
                  <a:gd name="T51" fmla="*/ 9 h 17"/>
                  <a:gd name="T52" fmla="*/ 12 w 24"/>
                  <a:gd name="T53" fmla="*/ 4 h 17"/>
                  <a:gd name="T54" fmla="*/ 12 w 24"/>
                  <a:gd name="T55" fmla="*/ 3 h 17"/>
                  <a:gd name="T56" fmla="*/ 13 w 24"/>
                  <a:gd name="T57" fmla="*/ 4 h 17"/>
                  <a:gd name="T58" fmla="*/ 13 w 24"/>
                  <a:gd name="T59" fmla="*/ 5 h 17"/>
                  <a:gd name="T60" fmla="*/ 12 w 24"/>
                  <a:gd name="T61" fmla="*/ 6 h 17"/>
                  <a:gd name="T62" fmla="*/ 12 w 24"/>
                  <a:gd name="T63" fmla="*/ 5 h 17"/>
                  <a:gd name="T64" fmla="*/ 12 w 24"/>
                  <a:gd name="T65" fmla="*/ 4 h 17"/>
                  <a:gd name="T66" fmla="*/ 13 w 24"/>
                  <a:gd name="T67" fmla="*/ 14 h 17"/>
                  <a:gd name="T68" fmla="*/ 10 w 24"/>
                  <a:gd name="T69" fmla="*/ 13 h 17"/>
                  <a:gd name="T70" fmla="*/ 7 w 24"/>
                  <a:gd name="T71" fmla="*/ 4 h 17"/>
                  <a:gd name="T72" fmla="*/ 14 w 24"/>
                  <a:gd name="T73" fmla="*/ 11 h 17"/>
                  <a:gd name="T74" fmla="*/ 13 w 24"/>
                  <a:gd name="T75" fmla="*/ 14 h 17"/>
                  <a:gd name="T76" fmla="*/ 17 w 24"/>
                  <a:gd name="T77" fmla="*/ 5 h 17"/>
                  <a:gd name="T78" fmla="*/ 16 w 24"/>
                  <a:gd name="T79" fmla="*/ 6 h 17"/>
                  <a:gd name="T80" fmla="*/ 15 w 24"/>
                  <a:gd name="T81" fmla="*/ 7 h 17"/>
                  <a:gd name="T82" fmla="*/ 15 w 24"/>
                  <a:gd name="T83" fmla="*/ 7 h 17"/>
                  <a:gd name="T84" fmla="*/ 15 w 24"/>
                  <a:gd name="T85" fmla="*/ 6 h 17"/>
                  <a:gd name="T86" fmla="*/ 16 w 24"/>
                  <a:gd name="T87" fmla="*/ 4 h 17"/>
                  <a:gd name="T88" fmla="*/ 17 w 24"/>
                  <a:gd name="T89" fmla="*/ 4 h 17"/>
                  <a:gd name="T90" fmla="*/ 17 w 24"/>
                  <a:gd name="T91" fmla="*/ 5 h 17"/>
                  <a:gd name="T92" fmla="*/ 18 w 24"/>
                  <a:gd name="T93" fmla="*/ 9 h 17"/>
                  <a:gd name="T94" fmla="*/ 17 w 24"/>
                  <a:gd name="T95" fmla="*/ 9 h 17"/>
                  <a:gd name="T96" fmla="*/ 18 w 24"/>
                  <a:gd name="T97" fmla="*/ 8 h 17"/>
                  <a:gd name="T98" fmla="*/ 19 w 24"/>
                  <a:gd name="T99" fmla="*/ 7 h 17"/>
                  <a:gd name="T100" fmla="*/ 20 w 24"/>
                  <a:gd name="T101" fmla="*/ 7 h 17"/>
                  <a:gd name="T102" fmla="*/ 20 w 24"/>
                  <a:gd name="T103" fmla="*/ 8 h 17"/>
                  <a:gd name="T104" fmla="*/ 18 w 24"/>
                  <a:gd name="T105" fmla="*/ 9 h 17"/>
                  <a:gd name="T106" fmla="*/ 18 w 24"/>
                  <a:gd name="T107" fmla="*/ 9 h 17"/>
                  <a:gd name="T108" fmla="*/ 22 w 24"/>
                  <a:gd name="T109" fmla="*/ 12 h 17"/>
                  <a:gd name="T110" fmla="*/ 21 w 24"/>
                  <a:gd name="T111" fmla="*/ 12 h 17"/>
                  <a:gd name="T112" fmla="*/ 19 w 24"/>
                  <a:gd name="T113" fmla="*/ 12 h 17"/>
                  <a:gd name="T114" fmla="*/ 19 w 24"/>
                  <a:gd name="T115" fmla="*/ 12 h 17"/>
                  <a:gd name="T116" fmla="*/ 19 w 24"/>
                  <a:gd name="T117" fmla="*/ 11 h 17"/>
                  <a:gd name="T118" fmla="*/ 21 w 24"/>
                  <a:gd name="T119" fmla="*/ 11 h 17"/>
                  <a:gd name="T120" fmla="*/ 22 w 24"/>
                  <a:gd name="T121" fmla="*/ 12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24" h="17">
                    <a:moveTo>
                      <a:pt x="12" y="0"/>
                    </a:moveTo>
                    <a:cubicBezTo>
                      <a:pt x="6" y="0"/>
                      <a:pt x="0" y="6"/>
                      <a:pt x="0" y="12"/>
                    </a:cubicBezTo>
                    <a:cubicBezTo>
                      <a:pt x="0" y="13"/>
                      <a:pt x="0" y="14"/>
                      <a:pt x="0" y="15"/>
                    </a:cubicBezTo>
                    <a:cubicBezTo>
                      <a:pt x="0" y="15"/>
                      <a:pt x="0" y="15"/>
                      <a:pt x="7" y="15"/>
                    </a:cubicBezTo>
                    <a:cubicBezTo>
                      <a:pt x="8" y="16"/>
                      <a:pt x="10" y="17"/>
                      <a:pt x="12" y="17"/>
                    </a:cubicBezTo>
                    <a:cubicBezTo>
                      <a:pt x="14" y="17"/>
                      <a:pt x="16" y="16"/>
                      <a:pt x="17" y="15"/>
                    </a:cubicBezTo>
                    <a:cubicBezTo>
                      <a:pt x="17" y="15"/>
                      <a:pt x="17" y="15"/>
                      <a:pt x="21" y="15"/>
                    </a:cubicBezTo>
                    <a:cubicBezTo>
                      <a:pt x="21" y="14"/>
                      <a:pt x="21" y="14"/>
                      <a:pt x="21" y="14"/>
                    </a:cubicBezTo>
                    <a:cubicBezTo>
                      <a:pt x="22" y="14"/>
                      <a:pt x="23" y="14"/>
                      <a:pt x="24" y="14"/>
                    </a:cubicBezTo>
                    <a:cubicBezTo>
                      <a:pt x="24" y="14"/>
                      <a:pt x="24" y="13"/>
                      <a:pt x="24" y="12"/>
                    </a:cubicBezTo>
                    <a:cubicBezTo>
                      <a:pt x="24" y="6"/>
                      <a:pt x="19" y="0"/>
                      <a:pt x="12" y="0"/>
                    </a:cubicBezTo>
                    <a:close/>
                    <a:moveTo>
                      <a:pt x="5" y="12"/>
                    </a:moveTo>
                    <a:cubicBezTo>
                      <a:pt x="3" y="12"/>
                      <a:pt x="3" y="12"/>
                      <a:pt x="3" y="12"/>
                    </a:cubicBezTo>
                    <a:cubicBezTo>
                      <a:pt x="3" y="12"/>
                      <a:pt x="2" y="12"/>
                      <a:pt x="2" y="12"/>
                    </a:cubicBezTo>
                    <a:cubicBezTo>
                      <a:pt x="2" y="11"/>
                      <a:pt x="3" y="11"/>
                      <a:pt x="3" y="11"/>
                    </a:cubicBezTo>
                    <a:cubicBezTo>
                      <a:pt x="5" y="11"/>
                      <a:pt x="5" y="11"/>
                      <a:pt x="5" y="11"/>
                    </a:cubicBezTo>
                    <a:cubicBezTo>
                      <a:pt x="5" y="11"/>
                      <a:pt x="5" y="11"/>
                      <a:pt x="5" y="12"/>
                    </a:cubicBezTo>
                    <a:cubicBezTo>
                      <a:pt x="5" y="12"/>
                      <a:pt x="5" y="12"/>
                      <a:pt x="5" y="12"/>
                    </a:cubicBezTo>
                    <a:close/>
                    <a:moveTo>
                      <a:pt x="7" y="9"/>
                    </a:moveTo>
                    <a:cubicBezTo>
                      <a:pt x="7" y="9"/>
                      <a:pt x="6" y="9"/>
                      <a:pt x="6" y="9"/>
                    </a:cubicBezTo>
                    <a:cubicBezTo>
                      <a:pt x="6" y="9"/>
                      <a:pt x="6" y="9"/>
                      <a:pt x="6" y="9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4" y="8"/>
                      <a:pt x="4" y="8"/>
                      <a:pt x="4" y="7"/>
                    </a:cubicBezTo>
                    <a:cubicBezTo>
                      <a:pt x="4" y="7"/>
                      <a:pt x="5" y="7"/>
                      <a:pt x="5" y="7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7" y="8"/>
                      <a:pt x="7" y="9"/>
                      <a:pt x="7" y="9"/>
                    </a:cubicBezTo>
                    <a:close/>
                    <a:moveTo>
                      <a:pt x="12" y="4"/>
                    </a:moveTo>
                    <a:cubicBezTo>
                      <a:pt x="12" y="3"/>
                      <a:pt x="12" y="3"/>
                      <a:pt x="12" y="3"/>
                    </a:cubicBezTo>
                    <a:cubicBezTo>
                      <a:pt x="12" y="3"/>
                      <a:pt x="13" y="3"/>
                      <a:pt x="13" y="4"/>
                    </a:cubicBezTo>
                    <a:cubicBezTo>
                      <a:pt x="13" y="5"/>
                      <a:pt x="13" y="5"/>
                      <a:pt x="13" y="5"/>
                    </a:cubicBezTo>
                    <a:cubicBezTo>
                      <a:pt x="13" y="6"/>
                      <a:pt x="12" y="6"/>
                      <a:pt x="12" y="6"/>
                    </a:cubicBezTo>
                    <a:cubicBezTo>
                      <a:pt x="12" y="6"/>
                      <a:pt x="12" y="6"/>
                      <a:pt x="12" y="5"/>
                    </a:cubicBezTo>
                    <a:cubicBezTo>
                      <a:pt x="12" y="4"/>
                      <a:pt x="12" y="4"/>
                      <a:pt x="12" y="4"/>
                    </a:cubicBezTo>
                    <a:close/>
                    <a:moveTo>
                      <a:pt x="13" y="14"/>
                    </a:moveTo>
                    <a:cubicBezTo>
                      <a:pt x="12" y="15"/>
                      <a:pt x="11" y="14"/>
                      <a:pt x="10" y="13"/>
                    </a:cubicBezTo>
                    <a:cubicBezTo>
                      <a:pt x="9" y="12"/>
                      <a:pt x="7" y="4"/>
                      <a:pt x="7" y="4"/>
                    </a:cubicBezTo>
                    <a:cubicBezTo>
                      <a:pt x="7" y="4"/>
                      <a:pt x="13" y="10"/>
                      <a:pt x="14" y="11"/>
                    </a:cubicBezTo>
                    <a:cubicBezTo>
                      <a:pt x="14" y="12"/>
                      <a:pt x="14" y="14"/>
                      <a:pt x="13" y="14"/>
                    </a:cubicBezTo>
                    <a:close/>
                    <a:moveTo>
                      <a:pt x="17" y="5"/>
                    </a:moveTo>
                    <a:cubicBezTo>
                      <a:pt x="16" y="6"/>
                      <a:pt x="16" y="6"/>
                      <a:pt x="16" y="6"/>
                    </a:cubicBezTo>
                    <a:cubicBezTo>
                      <a:pt x="16" y="7"/>
                      <a:pt x="16" y="7"/>
                      <a:pt x="15" y="7"/>
                    </a:cubicBezTo>
                    <a:cubicBezTo>
                      <a:pt x="15" y="7"/>
                      <a:pt x="15" y="7"/>
                      <a:pt x="15" y="7"/>
                    </a:cubicBezTo>
                    <a:cubicBezTo>
                      <a:pt x="15" y="6"/>
                      <a:pt x="15" y="6"/>
                      <a:pt x="15" y="6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7" y="4"/>
                    </a:cubicBezTo>
                    <a:cubicBezTo>
                      <a:pt x="17" y="4"/>
                      <a:pt x="17" y="5"/>
                      <a:pt x="17" y="5"/>
                    </a:cubicBezTo>
                    <a:close/>
                    <a:moveTo>
                      <a:pt x="18" y="9"/>
                    </a:moveTo>
                    <a:cubicBezTo>
                      <a:pt x="18" y="9"/>
                      <a:pt x="18" y="9"/>
                      <a:pt x="17" y="9"/>
                    </a:cubicBezTo>
                    <a:cubicBezTo>
                      <a:pt x="17" y="8"/>
                      <a:pt x="17" y="8"/>
                      <a:pt x="18" y="8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20" y="7"/>
                      <a:pt x="20" y="7"/>
                    </a:cubicBezTo>
                    <a:cubicBezTo>
                      <a:pt x="20" y="7"/>
                      <a:pt x="20" y="8"/>
                      <a:pt x="20" y="8"/>
                    </a:cubicBezTo>
                    <a:cubicBezTo>
                      <a:pt x="18" y="9"/>
                      <a:pt x="18" y="9"/>
                      <a:pt x="18" y="9"/>
                    </a:cubicBezTo>
                    <a:cubicBezTo>
                      <a:pt x="18" y="9"/>
                      <a:pt x="18" y="9"/>
                      <a:pt x="18" y="9"/>
                    </a:cubicBezTo>
                    <a:close/>
                    <a:moveTo>
                      <a:pt x="22" y="12"/>
                    </a:moveTo>
                    <a:cubicBezTo>
                      <a:pt x="22" y="12"/>
                      <a:pt x="21" y="12"/>
                      <a:pt x="21" y="12"/>
                    </a:cubicBezTo>
                    <a:cubicBezTo>
                      <a:pt x="19" y="12"/>
                      <a:pt x="19" y="12"/>
                      <a:pt x="19" y="12"/>
                    </a:cubicBezTo>
                    <a:cubicBezTo>
                      <a:pt x="19" y="12"/>
                      <a:pt x="19" y="12"/>
                      <a:pt x="19" y="12"/>
                    </a:cubicBezTo>
                    <a:cubicBezTo>
                      <a:pt x="19" y="11"/>
                      <a:pt x="19" y="11"/>
                      <a:pt x="19" y="11"/>
                    </a:cubicBezTo>
                    <a:cubicBezTo>
                      <a:pt x="21" y="11"/>
                      <a:pt x="21" y="11"/>
                      <a:pt x="21" y="11"/>
                    </a:cubicBezTo>
                    <a:cubicBezTo>
                      <a:pt x="21" y="11"/>
                      <a:pt x="22" y="11"/>
                      <a:pt x="22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algn="ctr" defTabSz="914225"/>
                <a:endParaRPr lang="en-US" baseline="-25000">
                  <a:solidFill>
                    <a:srgbClr val="505050"/>
                  </a:solidFill>
                </a:endParaRPr>
              </a:p>
            </p:txBody>
          </p:sp>
          <p:sp>
            <p:nvSpPr>
              <p:cNvPr id="23" name="Freeform 7"/>
              <p:cNvSpPr>
                <a:spLocks/>
              </p:cNvSpPr>
              <p:nvPr/>
            </p:nvSpPr>
            <p:spPr bwMode="auto">
              <a:xfrm>
                <a:off x="3730" y="2149"/>
                <a:ext cx="222" cy="122"/>
              </a:xfrm>
              <a:custGeom>
                <a:avLst/>
                <a:gdLst>
                  <a:gd name="T0" fmla="*/ 76 w 91"/>
                  <a:gd name="T1" fmla="*/ 50 h 50"/>
                  <a:gd name="T2" fmla="*/ 91 w 91"/>
                  <a:gd name="T3" fmla="*/ 50 h 50"/>
                  <a:gd name="T4" fmla="*/ 81 w 91"/>
                  <a:gd name="T5" fmla="*/ 16 h 50"/>
                  <a:gd name="T6" fmla="*/ 60 w 91"/>
                  <a:gd name="T7" fmla="*/ 0 h 50"/>
                  <a:gd name="T8" fmla="*/ 32 w 91"/>
                  <a:gd name="T9" fmla="*/ 0 h 50"/>
                  <a:gd name="T10" fmla="*/ 10 w 91"/>
                  <a:gd name="T11" fmla="*/ 16 h 50"/>
                  <a:gd name="T12" fmla="*/ 0 w 91"/>
                  <a:gd name="T13" fmla="*/ 50 h 50"/>
                  <a:gd name="T14" fmla="*/ 15 w 91"/>
                  <a:gd name="T15" fmla="*/ 50 h 50"/>
                  <a:gd name="T16" fmla="*/ 22 w 91"/>
                  <a:gd name="T17" fmla="*/ 27 h 50"/>
                  <a:gd name="T18" fmla="*/ 27 w 91"/>
                  <a:gd name="T19" fmla="*/ 27 h 50"/>
                  <a:gd name="T20" fmla="*/ 20 w 91"/>
                  <a:gd name="T21" fmla="*/ 50 h 50"/>
                  <a:gd name="T22" fmla="*/ 72 w 91"/>
                  <a:gd name="T23" fmla="*/ 50 h 50"/>
                  <a:gd name="T24" fmla="*/ 68 w 91"/>
                  <a:gd name="T25" fmla="*/ 36 h 50"/>
                  <a:gd name="T26" fmla="*/ 56 w 91"/>
                  <a:gd name="T27" fmla="*/ 41 h 50"/>
                  <a:gd name="T28" fmla="*/ 40 w 91"/>
                  <a:gd name="T29" fmla="*/ 25 h 50"/>
                  <a:gd name="T30" fmla="*/ 56 w 91"/>
                  <a:gd name="T31" fmla="*/ 9 h 50"/>
                  <a:gd name="T32" fmla="*/ 72 w 91"/>
                  <a:gd name="T33" fmla="*/ 25 h 50"/>
                  <a:gd name="T34" fmla="*/ 71 w 91"/>
                  <a:gd name="T35" fmla="*/ 31 h 50"/>
                  <a:gd name="T36" fmla="*/ 76 w 91"/>
                  <a:gd name="T37" fmla="*/ 5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91" h="50">
                    <a:moveTo>
                      <a:pt x="76" y="50"/>
                    </a:moveTo>
                    <a:cubicBezTo>
                      <a:pt x="91" y="50"/>
                      <a:pt x="91" y="50"/>
                      <a:pt x="91" y="50"/>
                    </a:cubicBezTo>
                    <a:cubicBezTo>
                      <a:pt x="81" y="16"/>
                      <a:pt x="81" y="16"/>
                      <a:pt x="81" y="16"/>
                    </a:cubicBezTo>
                    <a:cubicBezTo>
                      <a:pt x="80" y="10"/>
                      <a:pt x="73" y="0"/>
                      <a:pt x="60" y="0"/>
                    </a:cubicBezTo>
                    <a:cubicBezTo>
                      <a:pt x="32" y="0"/>
                      <a:pt x="32" y="0"/>
                      <a:pt x="32" y="0"/>
                    </a:cubicBezTo>
                    <a:cubicBezTo>
                      <a:pt x="19" y="0"/>
                      <a:pt x="12" y="10"/>
                      <a:pt x="10" y="16"/>
                    </a:cubicBezTo>
                    <a:cubicBezTo>
                      <a:pt x="0" y="50"/>
                      <a:pt x="0" y="50"/>
                      <a:pt x="0" y="50"/>
                    </a:cubicBezTo>
                    <a:cubicBezTo>
                      <a:pt x="15" y="50"/>
                      <a:pt x="15" y="50"/>
                      <a:pt x="15" y="50"/>
                    </a:cubicBezTo>
                    <a:cubicBezTo>
                      <a:pt x="22" y="27"/>
                      <a:pt x="22" y="27"/>
                      <a:pt x="22" y="27"/>
                    </a:cubicBezTo>
                    <a:cubicBezTo>
                      <a:pt x="27" y="27"/>
                      <a:pt x="27" y="27"/>
                      <a:pt x="27" y="27"/>
                    </a:cubicBezTo>
                    <a:cubicBezTo>
                      <a:pt x="20" y="50"/>
                      <a:pt x="20" y="50"/>
                      <a:pt x="20" y="50"/>
                    </a:cubicBezTo>
                    <a:cubicBezTo>
                      <a:pt x="72" y="50"/>
                      <a:pt x="72" y="50"/>
                      <a:pt x="72" y="50"/>
                    </a:cubicBezTo>
                    <a:cubicBezTo>
                      <a:pt x="70" y="44"/>
                      <a:pt x="69" y="39"/>
                      <a:pt x="68" y="36"/>
                    </a:cubicBezTo>
                    <a:cubicBezTo>
                      <a:pt x="65" y="39"/>
                      <a:pt x="61" y="41"/>
                      <a:pt x="56" y="41"/>
                    </a:cubicBezTo>
                    <a:cubicBezTo>
                      <a:pt x="47" y="41"/>
                      <a:pt x="40" y="34"/>
                      <a:pt x="40" y="25"/>
                    </a:cubicBezTo>
                    <a:cubicBezTo>
                      <a:pt x="40" y="17"/>
                      <a:pt x="47" y="9"/>
                      <a:pt x="56" y="9"/>
                    </a:cubicBezTo>
                    <a:cubicBezTo>
                      <a:pt x="65" y="9"/>
                      <a:pt x="72" y="17"/>
                      <a:pt x="72" y="25"/>
                    </a:cubicBezTo>
                    <a:cubicBezTo>
                      <a:pt x="72" y="27"/>
                      <a:pt x="72" y="29"/>
                      <a:pt x="71" y="31"/>
                    </a:cubicBezTo>
                    <a:cubicBezTo>
                      <a:pt x="76" y="50"/>
                      <a:pt x="76" y="50"/>
                      <a:pt x="76" y="5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algn="ctr" defTabSz="914225"/>
                <a:endParaRPr lang="en-US" baseline="-25000">
                  <a:solidFill>
                    <a:srgbClr val="505050"/>
                  </a:solidFill>
                </a:endParaRPr>
              </a:p>
            </p:txBody>
          </p:sp>
        </p:grpSp>
      </p:grpSp>
      <p:sp>
        <p:nvSpPr>
          <p:cNvPr id="27" name="TextBox 26"/>
          <p:cNvSpPr txBox="1"/>
          <p:nvPr/>
        </p:nvSpPr>
        <p:spPr>
          <a:xfrm>
            <a:off x="9520328" y="2437059"/>
            <a:ext cx="2135353" cy="3323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914192">
              <a:lnSpc>
                <a:spcPct val="90000"/>
              </a:lnSpc>
              <a:spcAft>
                <a:spcPts val="588"/>
              </a:spcAft>
            </a:pPr>
            <a:r>
              <a:rPr lang="en-US" sz="2400" spc="-100" dirty="0">
                <a:ln w="3175">
                  <a:noFill/>
                </a:ln>
                <a:solidFill>
                  <a:srgbClr val="EDC30D"/>
                </a:solidFill>
                <a:cs typeface="Segoe UI Semibold" panose="020B0702040204020203" pitchFamily="34" charset="0"/>
              </a:rPr>
              <a:t>Everyone</a:t>
            </a:r>
          </a:p>
        </p:txBody>
      </p:sp>
      <p:grpSp>
        <p:nvGrpSpPr>
          <p:cNvPr id="28" name="Group 27"/>
          <p:cNvGrpSpPr/>
          <p:nvPr/>
        </p:nvGrpSpPr>
        <p:grpSpPr>
          <a:xfrm>
            <a:off x="9372283" y="3082344"/>
            <a:ext cx="2431443" cy="1124407"/>
            <a:chOff x="9372283" y="3104116"/>
            <a:chExt cx="2431443" cy="1124407"/>
          </a:xfrm>
          <a:solidFill>
            <a:srgbClr val="EDC30D"/>
          </a:solidFill>
        </p:grpSpPr>
        <p:sp>
          <p:nvSpPr>
            <p:cNvPr id="29" name="TextBox 15"/>
            <p:cNvSpPr txBox="1"/>
            <p:nvPr/>
          </p:nvSpPr>
          <p:spPr>
            <a:xfrm>
              <a:off x="9372283" y="3896124"/>
              <a:ext cx="2431443" cy="3323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 defTabSz="914192">
                <a:lnSpc>
                  <a:spcPct val="90000"/>
                </a:lnSpc>
                <a:spcAft>
                  <a:spcPts val="588"/>
                </a:spcAft>
              </a:pPr>
              <a:r>
                <a:rPr lang="en-US" sz="2400" spc="-100" dirty="0" smtClean="0">
                  <a:ln w="3175">
                    <a:noFill/>
                  </a:ln>
                  <a:solidFill>
                    <a:srgbClr val="EDC30D"/>
                  </a:solidFill>
                  <a:cs typeface="Segoe UI Semibold" panose="020B0702040204020203" pitchFamily="34" charset="0"/>
                </a:rPr>
                <a:t>Analyst to end user</a:t>
              </a:r>
              <a:endParaRPr lang="en-US" sz="2400" spc="-100" dirty="0">
                <a:ln w="3175">
                  <a:noFill/>
                </a:ln>
                <a:solidFill>
                  <a:srgbClr val="EDC30D"/>
                </a:solidFill>
                <a:cs typeface="Segoe UI Semibold" panose="020B0702040204020203" pitchFamily="34" charset="0"/>
              </a:endParaRPr>
            </a:p>
          </p:txBody>
        </p:sp>
        <p:sp>
          <p:nvSpPr>
            <p:cNvPr id="30" name="Freeform 13"/>
            <p:cNvSpPr>
              <a:spLocks noChangeAspect="1" noEditPoints="1"/>
            </p:cNvSpPr>
            <p:nvPr/>
          </p:nvSpPr>
          <p:spPr bwMode="auto">
            <a:xfrm>
              <a:off x="10640907" y="3104116"/>
              <a:ext cx="657484" cy="667042"/>
            </a:xfrm>
            <a:custGeom>
              <a:avLst/>
              <a:gdLst>
                <a:gd name="T0" fmla="*/ 147 w 288"/>
                <a:gd name="T1" fmla="*/ 116 h 293"/>
                <a:gd name="T2" fmla="*/ 147 w 288"/>
                <a:gd name="T3" fmla="*/ 116 h 293"/>
                <a:gd name="T4" fmla="*/ 147 w 288"/>
                <a:gd name="T5" fmla="*/ 116 h 293"/>
                <a:gd name="T6" fmla="*/ 203 w 288"/>
                <a:gd name="T7" fmla="*/ 58 h 293"/>
                <a:gd name="T8" fmla="*/ 146 w 288"/>
                <a:gd name="T9" fmla="*/ 1 h 293"/>
                <a:gd name="T10" fmla="*/ 106 w 288"/>
                <a:gd name="T11" fmla="*/ 18 h 293"/>
                <a:gd name="T12" fmla="*/ 90 w 288"/>
                <a:gd name="T13" fmla="*/ 59 h 293"/>
                <a:gd name="T14" fmla="*/ 107 w 288"/>
                <a:gd name="T15" fmla="*/ 99 h 293"/>
                <a:gd name="T16" fmla="*/ 147 w 288"/>
                <a:gd name="T17" fmla="*/ 116 h 293"/>
                <a:gd name="T18" fmla="*/ 240 w 288"/>
                <a:gd name="T19" fmla="*/ 293 h 293"/>
                <a:gd name="T20" fmla="*/ 288 w 288"/>
                <a:gd name="T21" fmla="*/ 292 h 293"/>
                <a:gd name="T22" fmla="*/ 255 w 288"/>
                <a:gd name="T23" fmla="*/ 185 h 293"/>
                <a:gd name="T24" fmla="*/ 189 w 288"/>
                <a:gd name="T25" fmla="*/ 135 h 293"/>
                <a:gd name="T26" fmla="*/ 172 w 288"/>
                <a:gd name="T27" fmla="*/ 135 h 293"/>
                <a:gd name="T28" fmla="*/ 172 w 288"/>
                <a:gd name="T29" fmla="*/ 136 h 293"/>
                <a:gd name="T30" fmla="*/ 173 w 288"/>
                <a:gd name="T31" fmla="*/ 137 h 293"/>
                <a:gd name="T32" fmla="*/ 172 w 288"/>
                <a:gd name="T33" fmla="*/ 139 h 293"/>
                <a:gd name="T34" fmla="*/ 161 w 288"/>
                <a:gd name="T35" fmla="*/ 155 h 293"/>
                <a:gd name="T36" fmla="*/ 173 w 288"/>
                <a:gd name="T37" fmla="*/ 232 h 293"/>
                <a:gd name="T38" fmla="*/ 148 w 288"/>
                <a:gd name="T39" fmla="*/ 263 h 293"/>
                <a:gd name="T40" fmla="*/ 138 w 288"/>
                <a:gd name="T41" fmla="*/ 250 h 293"/>
                <a:gd name="T42" fmla="*/ 123 w 288"/>
                <a:gd name="T43" fmla="*/ 233 h 293"/>
                <a:gd name="T44" fmla="*/ 133 w 288"/>
                <a:gd name="T45" fmla="*/ 155 h 293"/>
                <a:gd name="T46" fmla="*/ 122 w 288"/>
                <a:gd name="T47" fmla="*/ 139 h 293"/>
                <a:gd name="T48" fmla="*/ 122 w 288"/>
                <a:gd name="T49" fmla="*/ 138 h 293"/>
                <a:gd name="T50" fmla="*/ 122 w 288"/>
                <a:gd name="T51" fmla="*/ 136 h 293"/>
                <a:gd name="T52" fmla="*/ 122 w 288"/>
                <a:gd name="T53" fmla="*/ 135 h 293"/>
                <a:gd name="T54" fmla="*/ 101 w 288"/>
                <a:gd name="T55" fmla="*/ 135 h 293"/>
                <a:gd name="T56" fmla="*/ 33 w 288"/>
                <a:gd name="T57" fmla="*/ 185 h 293"/>
                <a:gd name="T58" fmla="*/ 0 w 288"/>
                <a:gd name="T59" fmla="*/ 293 h 293"/>
                <a:gd name="T60" fmla="*/ 49 w 288"/>
                <a:gd name="T61" fmla="*/ 293 h 293"/>
                <a:gd name="T62" fmla="*/ 69 w 288"/>
                <a:gd name="T63" fmla="*/ 222 h 293"/>
                <a:gd name="T64" fmla="*/ 84 w 288"/>
                <a:gd name="T65" fmla="*/ 222 h 293"/>
                <a:gd name="T66" fmla="*/ 63 w 288"/>
                <a:gd name="T67" fmla="*/ 293 h 293"/>
                <a:gd name="T68" fmla="*/ 225 w 288"/>
                <a:gd name="T69" fmla="*/ 293 h 293"/>
                <a:gd name="T70" fmla="*/ 205 w 288"/>
                <a:gd name="T71" fmla="*/ 221 h 293"/>
                <a:gd name="T72" fmla="*/ 219 w 288"/>
                <a:gd name="T73" fmla="*/ 221 h 293"/>
                <a:gd name="T74" fmla="*/ 240 w 288"/>
                <a:gd name="T75" fmla="*/ 293 h 293"/>
                <a:gd name="T76" fmla="*/ 154 w 288"/>
                <a:gd name="T77" fmla="*/ 150 h 293"/>
                <a:gd name="T78" fmla="*/ 164 w 288"/>
                <a:gd name="T79" fmla="*/ 138 h 293"/>
                <a:gd name="T80" fmla="*/ 164 w 288"/>
                <a:gd name="T81" fmla="*/ 137 h 293"/>
                <a:gd name="T82" fmla="*/ 162 w 288"/>
                <a:gd name="T83" fmla="*/ 135 h 293"/>
                <a:gd name="T84" fmla="*/ 158 w 288"/>
                <a:gd name="T85" fmla="*/ 132 h 293"/>
                <a:gd name="T86" fmla="*/ 147 w 288"/>
                <a:gd name="T87" fmla="*/ 130 h 293"/>
                <a:gd name="T88" fmla="*/ 137 w 288"/>
                <a:gd name="T89" fmla="*/ 132 h 293"/>
                <a:gd name="T90" fmla="*/ 132 w 288"/>
                <a:gd name="T91" fmla="*/ 135 h 293"/>
                <a:gd name="T92" fmla="*/ 131 w 288"/>
                <a:gd name="T93" fmla="*/ 138 h 293"/>
                <a:gd name="T94" fmla="*/ 131 w 288"/>
                <a:gd name="T95" fmla="*/ 138 h 293"/>
                <a:gd name="T96" fmla="*/ 140 w 288"/>
                <a:gd name="T97" fmla="*/ 150 h 293"/>
                <a:gd name="T98" fmla="*/ 143 w 288"/>
                <a:gd name="T99" fmla="*/ 152 h 293"/>
                <a:gd name="T100" fmla="*/ 132 w 288"/>
                <a:gd name="T101" fmla="*/ 230 h 293"/>
                <a:gd name="T102" fmla="*/ 144 w 288"/>
                <a:gd name="T103" fmla="*/ 244 h 293"/>
                <a:gd name="T104" fmla="*/ 146 w 288"/>
                <a:gd name="T105" fmla="*/ 247 h 293"/>
                <a:gd name="T106" fmla="*/ 148 w 288"/>
                <a:gd name="T107" fmla="*/ 249 h 293"/>
                <a:gd name="T108" fmla="*/ 150 w 288"/>
                <a:gd name="T109" fmla="*/ 247 h 293"/>
                <a:gd name="T110" fmla="*/ 152 w 288"/>
                <a:gd name="T111" fmla="*/ 244 h 293"/>
                <a:gd name="T112" fmla="*/ 164 w 288"/>
                <a:gd name="T113" fmla="*/ 230 h 293"/>
                <a:gd name="T114" fmla="*/ 152 w 288"/>
                <a:gd name="T115" fmla="*/ 152 h 293"/>
                <a:gd name="T116" fmla="*/ 154 w 288"/>
                <a:gd name="T117" fmla="*/ 150 h 2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88" h="293">
                  <a:moveTo>
                    <a:pt x="147" y="116"/>
                  </a:moveTo>
                  <a:cubicBezTo>
                    <a:pt x="147" y="116"/>
                    <a:pt x="147" y="116"/>
                    <a:pt x="147" y="116"/>
                  </a:cubicBezTo>
                  <a:cubicBezTo>
                    <a:pt x="147" y="116"/>
                    <a:pt x="147" y="116"/>
                    <a:pt x="147" y="116"/>
                  </a:cubicBezTo>
                  <a:cubicBezTo>
                    <a:pt x="178" y="115"/>
                    <a:pt x="203" y="89"/>
                    <a:pt x="203" y="58"/>
                  </a:cubicBezTo>
                  <a:cubicBezTo>
                    <a:pt x="202" y="26"/>
                    <a:pt x="177" y="0"/>
                    <a:pt x="146" y="1"/>
                  </a:cubicBezTo>
                  <a:cubicBezTo>
                    <a:pt x="131" y="1"/>
                    <a:pt x="117" y="7"/>
                    <a:pt x="106" y="18"/>
                  </a:cubicBezTo>
                  <a:cubicBezTo>
                    <a:pt x="96" y="29"/>
                    <a:pt x="90" y="43"/>
                    <a:pt x="90" y="59"/>
                  </a:cubicBezTo>
                  <a:cubicBezTo>
                    <a:pt x="90" y="74"/>
                    <a:pt x="96" y="89"/>
                    <a:pt x="107" y="99"/>
                  </a:cubicBezTo>
                  <a:cubicBezTo>
                    <a:pt x="118" y="110"/>
                    <a:pt x="132" y="116"/>
                    <a:pt x="147" y="116"/>
                  </a:cubicBezTo>
                  <a:close/>
                  <a:moveTo>
                    <a:pt x="240" y="293"/>
                  </a:moveTo>
                  <a:cubicBezTo>
                    <a:pt x="288" y="292"/>
                    <a:pt x="288" y="292"/>
                    <a:pt x="288" y="292"/>
                  </a:cubicBezTo>
                  <a:cubicBezTo>
                    <a:pt x="255" y="185"/>
                    <a:pt x="255" y="185"/>
                    <a:pt x="255" y="185"/>
                  </a:cubicBezTo>
                  <a:cubicBezTo>
                    <a:pt x="250" y="167"/>
                    <a:pt x="228" y="136"/>
                    <a:pt x="189" y="135"/>
                  </a:cubicBezTo>
                  <a:cubicBezTo>
                    <a:pt x="172" y="135"/>
                    <a:pt x="172" y="135"/>
                    <a:pt x="172" y="135"/>
                  </a:cubicBezTo>
                  <a:cubicBezTo>
                    <a:pt x="172" y="135"/>
                    <a:pt x="172" y="135"/>
                    <a:pt x="172" y="136"/>
                  </a:cubicBezTo>
                  <a:cubicBezTo>
                    <a:pt x="173" y="137"/>
                    <a:pt x="173" y="137"/>
                    <a:pt x="173" y="137"/>
                  </a:cubicBezTo>
                  <a:cubicBezTo>
                    <a:pt x="172" y="139"/>
                    <a:pt x="172" y="139"/>
                    <a:pt x="172" y="139"/>
                  </a:cubicBezTo>
                  <a:cubicBezTo>
                    <a:pt x="172" y="143"/>
                    <a:pt x="168" y="148"/>
                    <a:pt x="161" y="155"/>
                  </a:cubicBezTo>
                  <a:cubicBezTo>
                    <a:pt x="173" y="232"/>
                    <a:pt x="173" y="232"/>
                    <a:pt x="173" y="232"/>
                  </a:cubicBezTo>
                  <a:cubicBezTo>
                    <a:pt x="148" y="263"/>
                    <a:pt x="148" y="263"/>
                    <a:pt x="148" y="263"/>
                  </a:cubicBezTo>
                  <a:cubicBezTo>
                    <a:pt x="138" y="250"/>
                    <a:pt x="138" y="250"/>
                    <a:pt x="138" y="250"/>
                  </a:cubicBezTo>
                  <a:cubicBezTo>
                    <a:pt x="123" y="233"/>
                    <a:pt x="123" y="233"/>
                    <a:pt x="123" y="233"/>
                  </a:cubicBezTo>
                  <a:cubicBezTo>
                    <a:pt x="133" y="155"/>
                    <a:pt x="133" y="155"/>
                    <a:pt x="133" y="155"/>
                  </a:cubicBezTo>
                  <a:cubicBezTo>
                    <a:pt x="126" y="149"/>
                    <a:pt x="122" y="143"/>
                    <a:pt x="122" y="139"/>
                  </a:cubicBezTo>
                  <a:cubicBezTo>
                    <a:pt x="122" y="138"/>
                    <a:pt x="122" y="138"/>
                    <a:pt x="122" y="138"/>
                  </a:cubicBezTo>
                  <a:cubicBezTo>
                    <a:pt x="122" y="136"/>
                    <a:pt x="122" y="136"/>
                    <a:pt x="122" y="136"/>
                  </a:cubicBezTo>
                  <a:cubicBezTo>
                    <a:pt x="122" y="136"/>
                    <a:pt x="122" y="135"/>
                    <a:pt x="122" y="135"/>
                  </a:cubicBezTo>
                  <a:cubicBezTo>
                    <a:pt x="101" y="135"/>
                    <a:pt x="101" y="135"/>
                    <a:pt x="101" y="135"/>
                  </a:cubicBezTo>
                  <a:cubicBezTo>
                    <a:pt x="61" y="135"/>
                    <a:pt x="39" y="167"/>
                    <a:pt x="33" y="185"/>
                  </a:cubicBezTo>
                  <a:cubicBezTo>
                    <a:pt x="0" y="293"/>
                    <a:pt x="0" y="293"/>
                    <a:pt x="0" y="293"/>
                  </a:cubicBezTo>
                  <a:cubicBezTo>
                    <a:pt x="49" y="293"/>
                    <a:pt x="49" y="293"/>
                    <a:pt x="49" y="293"/>
                  </a:cubicBezTo>
                  <a:cubicBezTo>
                    <a:pt x="69" y="222"/>
                    <a:pt x="69" y="222"/>
                    <a:pt x="69" y="222"/>
                  </a:cubicBezTo>
                  <a:cubicBezTo>
                    <a:pt x="84" y="222"/>
                    <a:pt x="84" y="222"/>
                    <a:pt x="84" y="222"/>
                  </a:cubicBezTo>
                  <a:cubicBezTo>
                    <a:pt x="63" y="293"/>
                    <a:pt x="63" y="293"/>
                    <a:pt x="63" y="293"/>
                  </a:cubicBezTo>
                  <a:cubicBezTo>
                    <a:pt x="225" y="293"/>
                    <a:pt x="225" y="293"/>
                    <a:pt x="225" y="293"/>
                  </a:cubicBezTo>
                  <a:cubicBezTo>
                    <a:pt x="205" y="221"/>
                    <a:pt x="205" y="221"/>
                    <a:pt x="205" y="221"/>
                  </a:cubicBezTo>
                  <a:cubicBezTo>
                    <a:pt x="219" y="221"/>
                    <a:pt x="219" y="221"/>
                    <a:pt x="219" y="221"/>
                  </a:cubicBezTo>
                  <a:lnTo>
                    <a:pt x="240" y="293"/>
                  </a:lnTo>
                  <a:close/>
                  <a:moveTo>
                    <a:pt x="154" y="150"/>
                  </a:moveTo>
                  <a:cubicBezTo>
                    <a:pt x="163" y="142"/>
                    <a:pt x="164" y="138"/>
                    <a:pt x="164" y="138"/>
                  </a:cubicBezTo>
                  <a:cubicBezTo>
                    <a:pt x="164" y="137"/>
                    <a:pt x="164" y="137"/>
                    <a:pt x="164" y="137"/>
                  </a:cubicBezTo>
                  <a:cubicBezTo>
                    <a:pt x="164" y="137"/>
                    <a:pt x="163" y="136"/>
                    <a:pt x="162" y="135"/>
                  </a:cubicBezTo>
                  <a:cubicBezTo>
                    <a:pt x="161" y="134"/>
                    <a:pt x="160" y="133"/>
                    <a:pt x="158" y="132"/>
                  </a:cubicBezTo>
                  <a:cubicBezTo>
                    <a:pt x="155" y="131"/>
                    <a:pt x="151" y="130"/>
                    <a:pt x="147" y="130"/>
                  </a:cubicBezTo>
                  <a:cubicBezTo>
                    <a:pt x="144" y="130"/>
                    <a:pt x="140" y="131"/>
                    <a:pt x="137" y="132"/>
                  </a:cubicBezTo>
                  <a:cubicBezTo>
                    <a:pt x="135" y="133"/>
                    <a:pt x="133" y="134"/>
                    <a:pt x="132" y="135"/>
                  </a:cubicBezTo>
                  <a:cubicBezTo>
                    <a:pt x="131" y="136"/>
                    <a:pt x="131" y="137"/>
                    <a:pt x="131" y="138"/>
                  </a:cubicBezTo>
                  <a:cubicBezTo>
                    <a:pt x="131" y="138"/>
                    <a:pt x="131" y="138"/>
                    <a:pt x="131" y="138"/>
                  </a:cubicBezTo>
                  <a:cubicBezTo>
                    <a:pt x="131" y="138"/>
                    <a:pt x="131" y="142"/>
                    <a:pt x="140" y="150"/>
                  </a:cubicBezTo>
                  <a:cubicBezTo>
                    <a:pt x="143" y="152"/>
                    <a:pt x="143" y="152"/>
                    <a:pt x="143" y="152"/>
                  </a:cubicBezTo>
                  <a:cubicBezTo>
                    <a:pt x="132" y="230"/>
                    <a:pt x="132" y="230"/>
                    <a:pt x="132" y="230"/>
                  </a:cubicBezTo>
                  <a:cubicBezTo>
                    <a:pt x="144" y="244"/>
                    <a:pt x="144" y="244"/>
                    <a:pt x="144" y="244"/>
                  </a:cubicBezTo>
                  <a:cubicBezTo>
                    <a:pt x="146" y="247"/>
                    <a:pt x="146" y="247"/>
                    <a:pt x="146" y="247"/>
                  </a:cubicBezTo>
                  <a:cubicBezTo>
                    <a:pt x="148" y="249"/>
                    <a:pt x="148" y="249"/>
                    <a:pt x="148" y="249"/>
                  </a:cubicBezTo>
                  <a:cubicBezTo>
                    <a:pt x="150" y="247"/>
                    <a:pt x="150" y="247"/>
                    <a:pt x="150" y="247"/>
                  </a:cubicBezTo>
                  <a:cubicBezTo>
                    <a:pt x="152" y="244"/>
                    <a:pt x="152" y="244"/>
                    <a:pt x="152" y="244"/>
                  </a:cubicBezTo>
                  <a:cubicBezTo>
                    <a:pt x="164" y="230"/>
                    <a:pt x="164" y="230"/>
                    <a:pt x="164" y="230"/>
                  </a:cubicBezTo>
                  <a:cubicBezTo>
                    <a:pt x="152" y="152"/>
                    <a:pt x="152" y="152"/>
                    <a:pt x="152" y="152"/>
                  </a:cubicBezTo>
                  <a:lnTo>
                    <a:pt x="154" y="15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914225"/>
              <a:endParaRPr lang="en-US" dirty="0">
                <a:solidFill>
                  <a:srgbClr val="505050"/>
                </a:solidFill>
              </a:endParaRPr>
            </a:p>
          </p:txBody>
        </p:sp>
        <p:grpSp>
          <p:nvGrpSpPr>
            <p:cNvPr id="31" name="Group 4"/>
            <p:cNvGrpSpPr>
              <a:grpSpLocks/>
            </p:cNvGrpSpPr>
            <p:nvPr/>
          </p:nvGrpSpPr>
          <p:grpSpPr bwMode="auto">
            <a:xfrm>
              <a:off x="9890692" y="3156562"/>
              <a:ext cx="629033" cy="664924"/>
              <a:chOff x="3730" y="2047"/>
              <a:chExt cx="222" cy="226"/>
            </a:xfrm>
            <a:grpFill/>
          </p:grpSpPr>
          <p:sp>
            <p:nvSpPr>
              <p:cNvPr id="32" name="AutoShape 3"/>
              <p:cNvSpPr>
                <a:spLocks noChangeAspect="1" noChangeArrowheads="1" noTextEdit="1"/>
              </p:cNvSpPr>
              <p:nvPr/>
            </p:nvSpPr>
            <p:spPr bwMode="auto">
              <a:xfrm>
                <a:off x="3730" y="2047"/>
                <a:ext cx="220" cy="226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225"/>
                <a:endParaRPr lang="en-US" baseline="-25000">
                  <a:solidFill>
                    <a:srgbClr val="505050"/>
                  </a:solidFill>
                </a:endParaRPr>
              </a:p>
            </p:txBody>
          </p:sp>
          <p:sp>
            <p:nvSpPr>
              <p:cNvPr id="33" name="Oval 5"/>
              <p:cNvSpPr>
                <a:spLocks noChangeArrowheads="1"/>
              </p:cNvSpPr>
              <p:nvPr/>
            </p:nvSpPr>
            <p:spPr bwMode="auto">
              <a:xfrm>
                <a:off x="3798" y="2049"/>
                <a:ext cx="88" cy="88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225"/>
                <a:endParaRPr lang="en-US" baseline="-25000">
                  <a:solidFill>
                    <a:srgbClr val="505050"/>
                  </a:solidFill>
                </a:endParaRPr>
              </a:p>
            </p:txBody>
          </p:sp>
          <p:sp>
            <p:nvSpPr>
              <p:cNvPr id="34" name="Freeform 6"/>
              <p:cNvSpPr>
                <a:spLocks noEditPoints="1"/>
              </p:cNvSpPr>
              <p:nvPr/>
            </p:nvSpPr>
            <p:spPr bwMode="auto">
              <a:xfrm>
                <a:off x="3835" y="2181"/>
                <a:ext cx="58" cy="41"/>
              </a:xfrm>
              <a:custGeom>
                <a:avLst/>
                <a:gdLst>
                  <a:gd name="T0" fmla="*/ 12 w 24"/>
                  <a:gd name="T1" fmla="*/ 0 h 17"/>
                  <a:gd name="T2" fmla="*/ 0 w 24"/>
                  <a:gd name="T3" fmla="*/ 12 h 17"/>
                  <a:gd name="T4" fmla="*/ 0 w 24"/>
                  <a:gd name="T5" fmla="*/ 15 h 17"/>
                  <a:gd name="T6" fmla="*/ 7 w 24"/>
                  <a:gd name="T7" fmla="*/ 15 h 17"/>
                  <a:gd name="T8" fmla="*/ 12 w 24"/>
                  <a:gd name="T9" fmla="*/ 17 h 17"/>
                  <a:gd name="T10" fmla="*/ 17 w 24"/>
                  <a:gd name="T11" fmla="*/ 15 h 17"/>
                  <a:gd name="T12" fmla="*/ 21 w 24"/>
                  <a:gd name="T13" fmla="*/ 15 h 17"/>
                  <a:gd name="T14" fmla="*/ 21 w 24"/>
                  <a:gd name="T15" fmla="*/ 14 h 17"/>
                  <a:gd name="T16" fmla="*/ 24 w 24"/>
                  <a:gd name="T17" fmla="*/ 14 h 17"/>
                  <a:gd name="T18" fmla="*/ 24 w 24"/>
                  <a:gd name="T19" fmla="*/ 12 h 17"/>
                  <a:gd name="T20" fmla="*/ 12 w 24"/>
                  <a:gd name="T21" fmla="*/ 0 h 17"/>
                  <a:gd name="T22" fmla="*/ 5 w 24"/>
                  <a:gd name="T23" fmla="*/ 12 h 17"/>
                  <a:gd name="T24" fmla="*/ 3 w 24"/>
                  <a:gd name="T25" fmla="*/ 12 h 17"/>
                  <a:gd name="T26" fmla="*/ 2 w 24"/>
                  <a:gd name="T27" fmla="*/ 12 h 17"/>
                  <a:gd name="T28" fmla="*/ 3 w 24"/>
                  <a:gd name="T29" fmla="*/ 11 h 17"/>
                  <a:gd name="T30" fmla="*/ 5 w 24"/>
                  <a:gd name="T31" fmla="*/ 11 h 17"/>
                  <a:gd name="T32" fmla="*/ 5 w 24"/>
                  <a:gd name="T33" fmla="*/ 12 h 17"/>
                  <a:gd name="T34" fmla="*/ 5 w 24"/>
                  <a:gd name="T35" fmla="*/ 12 h 17"/>
                  <a:gd name="T36" fmla="*/ 7 w 24"/>
                  <a:gd name="T37" fmla="*/ 9 h 17"/>
                  <a:gd name="T38" fmla="*/ 6 w 24"/>
                  <a:gd name="T39" fmla="*/ 9 h 17"/>
                  <a:gd name="T40" fmla="*/ 6 w 24"/>
                  <a:gd name="T41" fmla="*/ 9 h 17"/>
                  <a:gd name="T42" fmla="*/ 4 w 24"/>
                  <a:gd name="T43" fmla="*/ 8 h 17"/>
                  <a:gd name="T44" fmla="*/ 4 w 24"/>
                  <a:gd name="T45" fmla="*/ 7 h 17"/>
                  <a:gd name="T46" fmla="*/ 5 w 24"/>
                  <a:gd name="T47" fmla="*/ 7 h 17"/>
                  <a:gd name="T48" fmla="*/ 6 w 24"/>
                  <a:gd name="T49" fmla="*/ 8 h 17"/>
                  <a:gd name="T50" fmla="*/ 7 w 24"/>
                  <a:gd name="T51" fmla="*/ 9 h 17"/>
                  <a:gd name="T52" fmla="*/ 12 w 24"/>
                  <a:gd name="T53" fmla="*/ 4 h 17"/>
                  <a:gd name="T54" fmla="*/ 12 w 24"/>
                  <a:gd name="T55" fmla="*/ 3 h 17"/>
                  <a:gd name="T56" fmla="*/ 13 w 24"/>
                  <a:gd name="T57" fmla="*/ 4 h 17"/>
                  <a:gd name="T58" fmla="*/ 13 w 24"/>
                  <a:gd name="T59" fmla="*/ 5 h 17"/>
                  <a:gd name="T60" fmla="*/ 12 w 24"/>
                  <a:gd name="T61" fmla="*/ 6 h 17"/>
                  <a:gd name="T62" fmla="*/ 12 w 24"/>
                  <a:gd name="T63" fmla="*/ 5 h 17"/>
                  <a:gd name="T64" fmla="*/ 12 w 24"/>
                  <a:gd name="T65" fmla="*/ 4 h 17"/>
                  <a:gd name="T66" fmla="*/ 13 w 24"/>
                  <a:gd name="T67" fmla="*/ 14 h 17"/>
                  <a:gd name="T68" fmla="*/ 10 w 24"/>
                  <a:gd name="T69" fmla="*/ 13 h 17"/>
                  <a:gd name="T70" fmla="*/ 7 w 24"/>
                  <a:gd name="T71" fmla="*/ 4 h 17"/>
                  <a:gd name="T72" fmla="*/ 14 w 24"/>
                  <a:gd name="T73" fmla="*/ 11 h 17"/>
                  <a:gd name="T74" fmla="*/ 13 w 24"/>
                  <a:gd name="T75" fmla="*/ 14 h 17"/>
                  <a:gd name="T76" fmla="*/ 17 w 24"/>
                  <a:gd name="T77" fmla="*/ 5 h 17"/>
                  <a:gd name="T78" fmla="*/ 16 w 24"/>
                  <a:gd name="T79" fmla="*/ 6 h 17"/>
                  <a:gd name="T80" fmla="*/ 15 w 24"/>
                  <a:gd name="T81" fmla="*/ 7 h 17"/>
                  <a:gd name="T82" fmla="*/ 15 w 24"/>
                  <a:gd name="T83" fmla="*/ 7 h 17"/>
                  <a:gd name="T84" fmla="*/ 15 w 24"/>
                  <a:gd name="T85" fmla="*/ 6 h 17"/>
                  <a:gd name="T86" fmla="*/ 16 w 24"/>
                  <a:gd name="T87" fmla="*/ 4 h 17"/>
                  <a:gd name="T88" fmla="*/ 17 w 24"/>
                  <a:gd name="T89" fmla="*/ 4 h 17"/>
                  <a:gd name="T90" fmla="*/ 17 w 24"/>
                  <a:gd name="T91" fmla="*/ 5 h 17"/>
                  <a:gd name="T92" fmla="*/ 18 w 24"/>
                  <a:gd name="T93" fmla="*/ 9 h 17"/>
                  <a:gd name="T94" fmla="*/ 17 w 24"/>
                  <a:gd name="T95" fmla="*/ 9 h 17"/>
                  <a:gd name="T96" fmla="*/ 18 w 24"/>
                  <a:gd name="T97" fmla="*/ 8 h 17"/>
                  <a:gd name="T98" fmla="*/ 19 w 24"/>
                  <a:gd name="T99" fmla="*/ 7 h 17"/>
                  <a:gd name="T100" fmla="*/ 20 w 24"/>
                  <a:gd name="T101" fmla="*/ 7 h 17"/>
                  <a:gd name="T102" fmla="*/ 20 w 24"/>
                  <a:gd name="T103" fmla="*/ 8 h 17"/>
                  <a:gd name="T104" fmla="*/ 18 w 24"/>
                  <a:gd name="T105" fmla="*/ 9 h 17"/>
                  <a:gd name="T106" fmla="*/ 18 w 24"/>
                  <a:gd name="T107" fmla="*/ 9 h 17"/>
                  <a:gd name="T108" fmla="*/ 22 w 24"/>
                  <a:gd name="T109" fmla="*/ 12 h 17"/>
                  <a:gd name="T110" fmla="*/ 21 w 24"/>
                  <a:gd name="T111" fmla="*/ 12 h 17"/>
                  <a:gd name="T112" fmla="*/ 19 w 24"/>
                  <a:gd name="T113" fmla="*/ 12 h 17"/>
                  <a:gd name="T114" fmla="*/ 19 w 24"/>
                  <a:gd name="T115" fmla="*/ 12 h 17"/>
                  <a:gd name="T116" fmla="*/ 19 w 24"/>
                  <a:gd name="T117" fmla="*/ 11 h 17"/>
                  <a:gd name="T118" fmla="*/ 21 w 24"/>
                  <a:gd name="T119" fmla="*/ 11 h 17"/>
                  <a:gd name="T120" fmla="*/ 22 w 24"/>
                  <a:gd name="T121" fmla="*/ 12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24" h="17">
                    <a:moveTo>
                      <a:pt x="12" y="0"/>
                    </a:moveTo>
                    <a:cubicBezTo>
                      <a:pt x="6" y="0"/>
                      <a:pt x="0" y="6"/>
                      <a:pt x="0" y="12"/>
                    </a:cubicBezTo>
                    <a:cubicBezTo>
                      <a:pt x="0" y="13"/>
                      <a:pt x="0" y="14"/>
                      <a:pt x="0" y="15"/>
                    </a:cubicBezTo>
                    <a:cubicBezTo>
                      <a:pt x="0" y="15"/>
                      <a:pt x="0" y="15"/>
                      <a:pt x="7" y="15"/>
                    </a:cubicBezTo>
                    <a:cubicBezTo>
                      <a:pt x="8" y="16"/>
                      <a:pt x="10" y="17"/>
                      <a:pt x="12" y="17"/>
                    </a:cubicBezTo>
                    <a:cubicBezTo>
                      <a:pt x="14" y="17"/>
                      <a:pt x="16" y="16"/>
                      <a:pt x="17" y="15"/>
                    </a:cubicBezTo>
                    <a:cubicBezTo>
                      <a:pt x="17" y="15"/>
                      <a:pt x="17" y="15"/>
                      <a:pt x="21" y="15"/>
                    </a:cubicBezTo>
                    <a:cubicBezTo>
                      <a:pt x="21" y="14"/>
                      <a:pt x="21" y="14"/>
                      <a:pt x="21" y="14"/>
                    </a:cubicBezTo>
                    <a:cubicBezTo>
                      <a:pt x="22" y="14"/>
                      <a:pt x="23" y="14"/>
                      <a:pt x="24" y="14"/>
                    </a:cubicBezTo>
                    <a:cubicBezTo>
                      <a:pt x="24" y="14"/>
                      <a:pt x="24" y="13"/>
                      <a:pt x="24" y="12"/>
                    </a:cubicBezTo>
                    <a:cubicBezTo>
                      <a:pt x="24" y="6"/>
                      <a:pt x="19" y="0"/>
                      <a:pt x="12" y="0"/>
                    </a:cubicBezTo>
                    <a:close/>
                    <a:moveTo>
                      <a:pt x="5" y="12"/>
                    </a:moveTo>
                    <a:cubicBezTo>
                      <a:pt x="3" y="12"/>
                      <a:pt x="3" y="12"/>
                      <a:pt x="3" y="12"/>
                    </a:cubicBezTo>
                    <a:cubicBezTo>
                      <a:pt x="3" y="12"/>
                      <a:pt x="2" y="12"/>
                      <a:pt x="2" y="12"/>
                    </a:cubicBezTo>
                    <a:cubicBezTo>
                      <a:pt x="2" y="11"/>
                      <a:pt x="3" y="11"/>
                      <a:pt x="3" y="11"/>
                    </a:cubicBezTo>
                    <a:cubicBezTo>
                      <a:pt x="5" y="11"/>
                      <a:pt x="5" y="11"/>
                      <a:pt x="5" y="11"/>
                    </a:cubicBezTo>
                    <a:cubicBezTo>
                      <a:pt x="5" y="11"/>
                      <a:pt x="5" y="11"/>
                      <a:pt x="5" y="12"/>
                    </a:cubicBezTo>
                    <a:cubicBezTo>
                      <a:pt x="5" y="12"/>
                      <a:pt x="5" y="12"/>
                      <a:pt x="5" y="12"/>
                    </a:cubicBezTo>
                    <a:close/>
                    <a:moveTo>
                      <a:pt x="7" y="9"/>
                    </a:moveTo>
                    <a:cubicBezTo>
                      <a:pt x="7" y="9"/>
                      <a:pt x="6" y="9"/>
                      <a:pt x="6" y="9"/>
                    </a:cubicBezTo>
                    <a:cubicBezTo>
                      <a:pt x="6" y="9"/>
                      <a:pt x="6" y="9"/>
                      <a:pt x="6" y="9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4" y="8"/>
                      <a:pt x="4" y="8"/>
                      <a:pt x="4" y="7"/>
                    </a:cubicBezTo>
                    <a:cubicBezTo>
                      <a:pt x="4" y="7"/>
                      <a:pt x="5" y="7"/>
                      <a:pt x="5" y="7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7" y="8"/>
                      <a:pt x="7" y="9"/>
                      <a:pt x="7" y="9"/>
                    </a:cubicBezTo>
                    <a:close/>
                    <a:moveTo>
                      <a:pt x="12" y="4"/>
                    </a:moveTo>
                    <a:cubicBezTo>
                      <a:pt x="12" y="3"/>
                      <a:pt x="12" y="3"/>
                      <a:pt x="12" y="3"/>
                    </a:cubicBezTo>
                    <a:cubicBezTo>
                      <a:pt x="12" y="3"/>
                      <a:pt x="13" y="3"/>
                      <a:pt x="13" y="4"/>
                    </a:cubicBezTo>
                    <a:cubicBezTo>
                      <a:pt x="13" y="5"/>
                      <a:pt x="13" y="5"/>
                      <a:pt x="13" y="5"/>
                    </a:cubicBezTo>
                    <a:cubicBezTo>
                      <a:pt x="13" y="6"/>
                      <a:pt x="12" y="6"/>
                      <a:pt x="12" y="6"/>
                    </a:cubicBezTo>
                    <a:cubicBezTo>
                      <a:pt x="12" y="6"/>
                      <a:pt x="12" y="6"/>
                      <a:pt x="12" y="5"/>
                    </a:cubicBezTo>
                    <a:cubicBezTo>
                      <a:pt x="12" y="4"/>
                      <a:pt x="12" y="4"/>
                      <a:pt x="12" y="4"/>
                    </a:cubicBezTo>
                    <a:close/>
                    <a:moveTo>
                      <a:pt x="13" y="14"/>
                    </a:moveTo>
                    <a:cubicBezTo>
                      <a:pt x="12" y="15"/>
                      <a:pt x="11" y="14"/>
                      <a:pt x="10" y="13"/>
                    </a:cubicBezTo>
                    <a:cubicBezTo>
                      <a:pt x="9" y="12"/>
                      <a:pt x="7" y="4"/>
                      <a:pt x="7" y="4"/>
                    </a:cubicBezTo>
                    <a:cubicBezTo>
                      <a:pt x="7" y="4"/>
                      <a:pt x="13" y="10"/>
                      <a:pt x="14" y="11"/>
                    </a:cubicBezTo>
                    <a:cubicBezTo>
                      <a:pt x="14" y="12"/>
                      <a:pt x="14" y="14"/>
                      <a:pt x="13" y="14"/>
                    </a:cubicBezTo>
                    <a:close/>
                    <a:moveTo>
                      <a:pt x="17" y="5"/>
                    </a:moveTo>
                    <a:cubicBezTo>
                      <a:pt x="16" y="6"/>
                      <a:pt x="16" y="6"/>
                      <a:pt x="16" y="6"/>
                    </a:cubicBezTo>
                    <a:cubicBezTo>
                      <a:pt x="16" y="7"/>
                      <a:pt x="16" y="7"/>
                      <a:pt x="15" y="7"/>
                    </a:cubicBezTo>
                    <a:cubicBezTo>
                      <a:pt x="15" y="7"/>
                      <a:pt x="15" y="7"/>
                      <a:pt x="15" y="7"/>
                    </a:cubicBezTo>
                    <a:cubicBezTo>
                      <a:pt x="15" y="6"/>
                      <a:pt x="15" y="6"/>
                      <a:pt x="15" y="6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7" y="4"/>
                    </a:cubicBezTo>
                    <a:cubicBezTo>
                      <a:pt x="17" y="4"/>
                      <a:pt x="17" y="5"/>
                      <a:pt x="17" y="5"/>
                    </a:cubicBezTo>
                    <a:close/>
                    <a:moveTo>
                      <a:pt x="18" y="9"/>
                    </a:moveTo>
                    <a:cubicBezTo>
                      <a:pt x="18" y="9"/>
                      <a:pt x="18" y="9"/>
                      <a:pt x="17" y="9"/>
                    </a:cubicBezTo>
                    <a:cubicBezTo>
                      <a:pt x="17" y="8"/>
                      <a:pt x="17" y="8"/>
                      <a:pt x="18" y="8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20" y="7"/>
                      <a:pt x="20" y="7"/>
                    </a:cubicBezTo>
                    <a:cubicBezTo>
                      <a:pt x="20" y="7"/>
                      <a:pt x="20" y="8"/>
                      <a:pt x="20" y="8"/>
                    </a:cubicBezTo>
                    <a:cubicBezTo>
                      <a:pt x="18" y="9"/>
                      <a:pt x="18" y="9"/>
                      <a:pt x="18" y="9"/>
                    </a:cubicBezTo>
                    <a:cubicBezTo>
                      <a:pt x="18" y="9"/>
                      <a:pt x="18" y="9"/>
                      <a:pt x="18" y="9"/>
                    </a:cubicBezTo>
                    <a:close/>
                    <a:moveTo>
                      <a:pt x="22" y="12"/>
                    </a:moveTo>
                    <a:cubicBezTo>
                      <a:pt x="22" y="12"/>
                      <a:pt x="21" y="12"/>
                      <a:pt x="21" y="12"/>
                    </a:cubicBezTo>
                    <a:cubicBezTo>
                      <a:pt x="19" y="12"/>
                      <a:pt x="19" y="12"/>
                      <a:pt x="19" y="12"/>
                    </a:cubicBezTo>
                    <a:cubicBezTo>
                      <a:pt x="19" y="12"/>
                      <a:pt x="19" y="12"/>
                      <a:pt x="19" y="12"/>
                    </a:cubicBezTo>
                    <a:cubicBezTo>
                      <a:pt x="19" y="11"/>
                      <a:pt x="19" y="11"/>
                      <a:pt x="19" y="11"/>
                    </a:cubicBezTo>
                    <a:cubicBezTo>
                      <a:pt x="21" y="11"/>
                      <a:pt x="21" y="11"/>
                      <a:pt x="21" y="11"/>
                    </a:cubicBezTo>
                    <a:cubicBezTo>
                      <a:pt x="21" y="11"/>
                      <a:pt x="22" y="11"/>
                      <a:pt x="22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225"/>
                <a:endParaRPr lang="en-US" baseline="-25000">
                  <a:solidFill>
                    <a:srgbClr val="505050"/>
                  </a:solidFill>
                </a:endParaRPr>
              </a:p>
            </p:txBody>
          </p:sp>
          <p:sp>
            <p:nvSpPr>
              <p:cNvPr id="35" name="Freeform 7"/>
              <p:cNvSpPr>
                <a:spLocks/>
              </p:cNvSpPr>
              <p:nvPr/>
            </p:nvSpPr>
            <p:spPr bwMode="auto">
              <a:xfrm>
                <a:off x="3730" y="2149"/>
                <a:ext cx="222" cy="122"/>
              </a:xfrm>
              <a:custGeom>
                <a:avLst/>
                <a:gdLst>
                  <a:gd name="T0" fmla="*/ 76 w 91"/>
                  <a:gd name="T1" fmla="*/ 50 h 50"/>
                  <a:gd name="T2" fmla="*/ 91 w 91"/>
                  <a:gd name="T3" fmla="*/ 50 h 50"/>
                  <a:gd name="T4" fmla="*/ 81 w 91"/>
                  <a:gd name="T5" fmla="*/ 16 h 50"/>
                  <a:gd name="T6" fmla="*/ 60 w 91"/>
                  <a:gd name="T7" fmla="*/ 0 h 50"/>
                  <a:gd name="T8" fmla="*/ 32 w 91"/>
                  <a:gd name="T9" fmla="*/ 0 h 50"/>
                  <a:gd name="T10" fmla="*/ 10 w 91"/>
                  <a:gd name="T11" fmla="*/ 16 h 50"/>
                  <a:gd name="T12" fmla="*/ 0 w 91"/>
                  <a:gd name="T13" fmla="*/ 50 h 50"/>
                  <a:gd name="T14" fmla="*/ 15 w 91"/>
                  <a:gd name="T15" fmla="*/ 50 h 50"/>
                  <a:gd name="T16" fmla="*/ 22 w 91"/>
                  <a:gd name="T17" fmla="*/ 27 h 50"/>
                  <a:gd name="T18" fmla="*/ 27 w 91"/>
                  <a:gd name="T19" fmla="*/ 27 h 50"/>
                  <a:gd name="T20" fmla="*/ 20 w 91"/>
                  <a:gd name="T21" fmla="*/ 50 h 50"/>
                  <a:gd name="T22" fmla="*/ 72 w 91"/>
                  <a:gd name="T23" fmla="*/ 50 h 50"/>
                  <a:gd name="T24" fmla="*/ 68 w 91"/>
                  <a:gd name="T25" fmla="*/ 36 h 50"/>
                  <a:gd name="T26" fmla="*/ 56 w 91"/>
                  <a:gd name="T27" fmla="*/ 41 h 50"/>
                  <a:gd name="T28" fmla="*/ 40 w 91"/>
                  <a:gd name="T29" fmla="*/ 25 h 50"/>
                  <a:gd name="T30" fmla="*/ 56 w 91"/>
                  <a:gd name="T31" fmla="*/ 9 h 50"/>
                  <a:gd name="T32" fmla="*/ 72 w 91"/>
                  <a:gd name="T33" fmla="*/ 25 h 50"/>
                  <a:gd name="T34" fmla="*/ 71 w 91"/>
                  <a:gd name="T35" fmla="*/ 31 h 50"/>
                  <a:gd name="T36" fmla="*/ 76 w 91"/>
                  <a:gd name="T37" fmla="*/ 5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91" h="50">
                    <a:moveTo>
                      <a:pt x="76" y="50"/>
                    </a:moveTo>
                    <a:cubicBezTo>
                      <a:pt x="91" y="50"/>
                      <a:pt x="91" y="50"/>
                      <a:pt x="91" y="50"/>
                    </a:cubicBezTo>
                    <a:cubicBezTo>
                      <a:pt x="81" y="16"/>
                      <a:pt x="81" y="16"/>
                      <a:pt x="81" y="16"/>
                    </a:cubicBezTo>
                    <a:cubicBezTo>
                      <a:pt x="80" y="10"/>
                      <a:pt x="73" y="0"/>
                      <a:pt x="60" y="0"/>
                    </a:cubicBezTo>
                    <a:cubicBezTo>
                      <a:pt x="32" y="0"/>
                      <a:pt x="32" y="0"/>
                      <a:pt x="32" y="0"/>
                    </a:cubicBezTo>
                    <a:cubicBezTo>
                      <a:pt x="19" y="0"/>
                      <a:pt x="12" y="10"/>
                      <a:pt x="10" y="16"/>
                    </a:cubicBezTo>
                    <a:cubicBezTo>
                      <a:pt x="0" y="50"/>
                      <a:pt x="0" y="50"/>
                      <a:pt x="0" y="50"/>
                    </a:cubicBezTo>
                    <a:cubicBezTo>
                      <a:pt x="15" y="50"/>
                      <a:pt x="15" y="50"/>
                      <a:pt x="15" y="50"/>
                    </a:cubicBezTo>
                    <a:cubicBezTo>
                      <a:pt x="22" y="27"/>
                      <a:pt x="22" y="27"/>
                      <a:pt x="22" y="27"/>
                    </a:cubicBezTo>
                    <a:cubicBezTo>
                      <a:pt x="27" y="27"/>
                      <a:pt x="27" y="27"/>
                      <a:pt x="27" y="27"/>
                    </a:cubicBezTo>
                    <a:cubicBezTo>
                      <a:pt x="20" y="50"/>
                      <a:pt x="20" y="50"/>
                      <a:pt x="20" y="50"/>
                    </a:cubicBezTo>
                    <a:cubicBezTo>
                      <a:pt x="72" y="50"/>
                      <a:pt x="72" y="50"/>
                      <a:pt x="72" y="50"/>
                    </a:cubicBezTo>
                    <a:cubicBezTo>
                      <a:pt x="70" y="44"/>
                      <a:pt x="69" y="39"/>
                      <a:pt x="68" y="36"/>
                    </a:cubicBezTo>
                    <a:cubicBezTo>
                      <a:pt x="65" y="39"/>
                      <a:pt x="61" y="41"/>
                      <a:pt x="56" y="41"/>
                    </a:cubicBezTo>
                    <a:cubicBezTo>
                      <a:pt x="47" y="41"/>
                      <a:pt x="40" y="34"/>
                      <a:pt x="40" y="25"/>
                    </a:cubicBezTo>
                    <a:cubicBezTo>
                      <a:pt x="40" y="17"/>
                      <a:pt x="47" y="9"/>
                      <a:pt x="56" y="9"/>
                    </a:cubicBezTo>
                    <a:cubicBezTo>
                      <a:pt x="65" y="9"/>
                      <a:pt x="72" y="17"/>
                      <a:pt x="72" y="25"/>
                    </a:cubicBezTo>
                    <a:cubicBezTo>
                      <a:pt x="72" y="27"/>
                      <a:pt x="72" y="29"/>
                      <a:pt x="71" y="31"/>
                    </a:cubicBezTo>
                    <a:cubicBezTo>
                      <a:pt x="76" y="50"/>
                      <a:pt x="76" y="50"/>
                      <a:pt x="76" y="50"/>
                    </a:cubicBezTo>
                    <a:close/>
                  </a:path>
                </a:pathLst>
              </a:custGeom>
              <a:solidFill>
                <a:srgbClr val="EDC3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225"/>
                <a:endParaRPr lang="en-US" baseline="-25000">
                  <a:solidFill>
                    <a:srgbClr val="505050"/>
                  </a:solidFill>
                </a:endParaRPr>
              </a:p>
            </p:txBody>
          </p:sp>
        </p:grpSp>
      </p:grpSp>
      <p:grpSp>
        <p:nvGrpSpPr>
          <p:cNvPr id="36" name="Group 35"/>
          <p:cNvGrpSpPr/>
          <p:nvPr/>
        </p:nvGrpSpPr>
        <p:grpSpPr>
          <a:xfrm>
            <a:off x="9440040" y="4883777"/>
            <a:ext cx="2167592" cy="1182392"/>
            <a:chOff x="9504208" y="4568667"/>
            <a:chExt cx="2167592" cy="1182392"/>
          </a:xfrm>
          <a:solidFill>
            <a:srgbClr val="EDC30D"/>
          </a:solidFill>
        </p:grpSpPr>
        <p:sp>
          <p:nvSpPr>
            <p:cNvPr id="37" name="TextBox 4"/>
            <p:cNvSpPr txBox="1"/>
            <p:nvPr/>
          </p:nvSpPr>
          <p:spPr>
            <a:xfrm>
              <a:off x="9504208" y="5418660"/>
              <a:ext cx="2167592" cy="3323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 defTabSz="914192">
                <a:lnSpc>
                  <a:spcPct val="90000"/>
                </a:lnSpc>
                <a:spcAft>
                  <a:spcPts val="588"/>
                </a:spcAft>
              </a:pPr>
              <a:r>
                <a:rPr lang="en-US" sz="2400" spc="-100" dirty="0">
                  <a:ln w="3175">
                    <a:noFill/>
                  </a:ln>
                  <a:solidFill>
                    <a:srgbClr val="EDC30D"/>
                  </a:solidFill>
                  <a:cs typeface="Segoe UI Semibold" panose="020B0702040204020203" pitchFamily="34" charset="0"/>
                </a:rPr>
                <a:t>IT to </a:t>
              </a:r>
              <a:r>
                <a:rPr lang="en-US" sz="2400" spc="-100" dirty="0" smtClean="0">
                  <a:ln w="3175">
                    <a:noFill/>
                  </a:ln>
                  <a:solidFill>
                    <a:srgbClr val="EDC30D"/>
                  </a:solidFill>
                  <a:cs typeface="Segoe UI Semibold" panose="020B0702040204020203" pitchFamily="34" charset="0"/>
                </a:rPr>
                <a:t>end user</a:t>
              </a:r>
              <a:endParaRPr lang="en-US" sz="2400" spc="-100" dirty="0">
                <a:ln w="3175">
                  <a:noFill/>
                </a:ln>
                <a:solidFill>
                  <a:srgbClr val="EDC30D"/>
                </a:solidFill>
                <a:cs typeface="Segoe UI Semibold" panose="020B0702040204020203" pitchFamily="34" charset="0"/>
              </a:endParaRPr>
            </a:p>
          </p:txBody>
        </p:sp>
        <p:sp>
          <p:nvSpPr>
            <p:cNvPr id="38" name="Freeform 13"/>
            <p:cNvSpPr>
              <a:spLocks noChangeAspect="1" noEditPoints="1"/>
            </p:cNvSpPr>
            <p:nvPr/>
          </p:nvSpPr>
          <p:spPr bwMode="auto">
            <a:xfrm>
              <a:off x="10640907" y="4568667"/>
              <a:ext cx="657484" cy="667042"/>
            </a:xfrm>
            <a:custGeom>
              <a:avLst/>
              <a:gdLst>
                <a:gd name="T0" fmla="*/ 147 w 288"/>
                <a:gd name="T1" fmla="*/ 116 h 293"/>
                <a:gd name="T2" fmla="*/ 147 w 288"/>
                <a:gd name="T3" fmla="*/ 116 h 293"/>
                <a:gd name="T4" fmla="*/ 147 w 288"/>
                <a:gd name="T5" fmla="*/ 116 h 293"/>
                <a:gd name="T6" fmla="*/ 203 w 288"/>
                <a:gd name="T7" fmla="*/ 58 h 293"/>
                <a:gd name="T8" fmla="*/ 146 w 288"/>
                <a:gd name="T9" fmla="*/ 1 h 293"/>
                <a:gd name="T10" fmla="*/ 106 w 288"/>
                <a:gd name="T11" fmla="*/ 18 h 293"/>
                <a:gd name="T12" fmla="*/ 90 w 288"/>
                <a:gd name="T13" fmla="*/ 59 h 293"/>
                <a:gd name="T14" fmla="*/ 107 w 288"/>
                <a:gd name="T15" fmla="*/ 99 h 293"/>
                <a:gd name="T16" fmla="*/ 147 w 288"/>
                <a:gd name="T17" fmla="*/ 116 h 293"/>
                <a:gd name="T18" fmla="*/ 240 w 288"/>
                <a:gd name="T19" fmla="*/ 293 h 293"/>
                <a:gd name="T20" fmla="*/ 288 w 288"/>
                <a:gd name="T21" fmla="*/ 292 h 293"/>
                <a:gd name="T22" fmla="*/ 255 w 288"/>
                <a:gd name="T23" fmla="*/ 185 h 293"/>
                <a:gd name="T24" fmla="*/ 189 w 288"/>
                <a:gd name="T25" fmla="*/ 135 h 293"/>
                <a:gd name="T26" fmla="*/ 172 w 288"/>
                <a:gd name="T27" fmla="*/ 135 h 293"/>
                <a:gd name="T28" fmla="*/ 172 w 288"/>
                <a:gd name="T29" fmla="*/ 136 h 293"/>
                <a:gd name="T30" fmla="*/ 173 w 288"/>
                <a:gd name="T31" fmla="*/ 137 h 293"/>
                <a:gd name="T32" fmla="*/ 172 w 288"/>
                <a:gd name="T33" fmla="*/ 139 h 293"/>
                <a:gd name="T34" fmla="*/ 161 w 288"/>
                <a:gd name="T35" fmla="*/ 155 h 293"/>
                <a:gd name="T36" fmla="*/ 173 w 288"/>
                <a:gd name="T37" fmla="*/ 232 h 293"/>
                <a:gd name="T38" fmla="*/ 148 w 288"/>
                <a:gd name="T39" fmla="*/ 263 h 293"/>
                <a:gd name="T40" fmla="*/ 138 w 288"/>
                <a:gd name="T41" fmla="*/ 250 h 293"/>
                <a:gd name="T42" fmla="*/ 123 w 288"/>
                <a:gd name="T43" fmla="*/ 233 h 293"/>
                <a:gd name="T44" fmla="*/ 133 w 288"/>
                <a:gd name="T45" fmla="*/ 155 h 293"/>
                <a:gd name="T46" fmla="*/ 122 w 288"/>
                <a:gd name="T47" fmla="*/ 139 h 293"/>
                <a:gd name="T48" fmla="*/ 122 w 288"/>
                <a:gd name="T49" fmla="*/ 138 h 293"/>
                <a:gd name="T50" fmla="*/ 122 w 288"/>
                <a:gd name="T51" fmla="*/ 136 h 293"/>
                <a:gd name="T52" fmla="*/ 122 w 288"/>
                <a:gd name="T53" fmla="*/ 135 h 293"/>
                <a:gd name="T54" fmla="*/ 101 w 288"/>
                <a:gd name="T55" fmla="*/ 135 h 293"/>
                <a:gd name="T56" fmla="*/ 33 w 288"/>
                <a:gd name="T57" fmla="*/ 185 h 293"/>
                <a:gd name="T58" fmla="*/ 0 w 288"/>
                <a:gd name="T59" fmla="*/ 293 h 293"/>
                <a:gd name="T60" fmla="*/ 49 w 288"/>
                <a:gd name="T61" fmla="*/ 293 h 293"/>
                <a:gd name="T62" fmla="*/ 69 w 288"/>
                <a:gd name="T63" fmla="*/ 222 h 293"/>
                <a:gd name="T64" fmla="*/ 84 w 288"/>
                <a:gd name="T65" fmla="*/ 222 h 293"/>
                <a:gd name="T66" fmla="*/ 63 w 288"/>
                <a:gd name="T67" fmla="*/ 293 h 293"/>
                <a:gd name="T68" fmla="*/ 225 w 288"/>
                <a:gd name="T69" fmla="*/ 293 h 293"/>
                <a:gd name="T70" fmla="*/ 205 w 288"/>
                <a:gd name="T71" fmla="*/ 221 h 293"/>
                <a:gd name="T72" fmla="*/ 219 w 288"/>
                <a:gd name="T73" fmla="*/ 221 h 293"/>
                <a:gd name="T74" fmla="*/ 240 w 288"/>
                <a:gd name="T75" fmla="*/ 293 h 293"/>
                <a:gd name="T76" fmla="*/ 154 w 288"/>
                <a:gd name="T77" fmla="*/ 150 h 293"/>
                <a:gd name="T78" fmla="*/ 164 w 288"/>
                <a:gd name="T79" fmla="*/ 138 h 293"/>
                <a:gd name="T80" fmla="*/ 164 w 288"/>
                <a:gd name="T81" fmla="*/ 137 h 293"/>
                <a:gd name="T82" fmla="*/ 162 w 288"/>
                <a:gd name="T83" fmla="*/ 135 h 293"/>
                <a:gd name="T84" fmla="*/ 158 w 288"/>
                <a:gd name="T85" fmla="*/ 132 h 293"/>
                <a:gd name="T86" fmla="*/ 147 w 288"/>
                <a:gd name="T87" fmla="*/ 130 h 293"/>
                <a:gd name="T88" fmla="*/ 137 w 288"/>
                <a:gd name="T89" fmla="*/ 132 h 293"/>
                <a:gd name="T90" fmla="*/ 132 w 288"/>
                <a:gd name="T91" fmla="*/ 135 h 293"/>
                <a:gd name="T92" fmla="*/ 131 w 288"/>
                <a:gd name="T93" fmla="*/ 138 h 293"/>
                <a:gd name="T94" fmla="*/ 131 w 288"/>
                <a:gd name="T95" fmla="*/ 138 h 293"/>
                <a:gd name="T96" fmla="*/ 140 w 288"/>
                <a:gd name="T97" fmla="*/ 150 h 293"/>
                <a:gd name="T98" fmla="*/ 143 w 288"/>
                <a:gd name="T99" fmla="*/ 152 h 293"/>
                <a:gd name="T100" fmla="*/ 132 w 288"/>
                <a:gd name="T101" fmla="*/ 230 h 293"/>
                <a:gd name="T102" fmla="*/ 144 w 288"/>
                <a:gd name="T103" fmla="*/ 244 h 293"/>
                <a:gd name="T104" fmla="*/ 146 w 288"/>
                <a:gd name="T105" fmla="*/ 247 h 293"/>
                <a:gd name="T106" fmla="*/ 148 w 288"/>
                <a:gd name="T107" fmla="*/ 249 h 293"/>
                <a:gd name="T108" fmla="*/ 150 w 288"/>
                <a:gd name="T109" fmla="*/ 247 h 293"/>
                <a:gd name="T110" fmla="*/ 152 w 288"/>
                <a:gd name="T111" fmla="*/ 244 h 293"/>
                <a:gd name="T112" fmla="*/ 164 w 288"/>
                <a:gd name="T113" fmla="*/ 230 h 293"/>
                <a:gd name="T114" fmla="*/ 152 w 288"/>
                <a:gd name="T115" fmla="*/ 152 h 293"/>
                <a:gd name="T116" fmla="*/ 154 w 288"/>
                <a:gd name="T117" fmla="*/ 150 h 2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88" h="293">
                  <a:moveTo>
                    <a:pt x="147" y="116"/>
                  </a:moveTo>
                  <a:cubicBezTo>
                    <a:pt x="147" y="116"/>
                    <a:pt x="147" y="116"/>
                    <a:pt x="147" y="116"/>
                  </a:cubicBezTo>
                  <a:cubicBezTo>
                    <a:pt x="147" y="116"/>
                    <a:pt x="147" y="116"/>
                    <a:pt x="147" y="116"/>
                  </a:cubicBezTo>
                  <a:cubicBezTo>
                    <a:pt x="178" y="115"/>
                    <a:pt x="203" y="89"/>
                    <a:pt x="203" y="58"/>
                  </a:cubicBezTo>
                  <a:cubicBezTo>
                    <a:pt x="202" y="26"/>
                    <a:pt x="177" y="0"/>
                    <a:pt x="146" y="1"/>
                  </a:cubicBezTo>
                  <a:cubicBezTo>
                    <a:pt x="131" y="1"/>
                    <a:pt x="117" y="7"/>
                    <a:pt x="106" y="18"/>
                  </a:cubicBezTo>
                  <a:cubicBezTo>
                    <a:pt x="96" y="29"/>
                    <a:pt x="90" y="43"/>
                    <a:pt x="90" y="59"/>
                  </a:cubicBezTo>
                  <a:cubicBezTo>
                    <a:pt x="90" y="74"/>
                    <a:pt x="96" y="89"/>
                    <a:pt x="107" y="99"/>
                  </a:cubicBezTo>
                  <a:cubicBezTo>
                    <a:pt x="118" y="110"/>
                    <a:pt x="132" y="116"/>
                    <a:pt x="147" y="116"/>
                  </a:cubicBezTo>
                  <a:close/>
                  <a:moveTo>
                    <a:pt x="240" y="293"/>
                  </a:moveTo>
                  <a:cubicBezTo>
                    <a:pt x="288" y="292"/>
                    <a:pt x="288" y="292"/>
                    <a:pt x="288" y="292"/>
                  </a:cubicBezTo>
                  <a:cubicBezTo>
                    <a:pt x="255" y="185"/>
                    <a:pt x="255" y="185"/>
                    <a:pt x="255" y="185"/>
                  </a:cubicBezTo>
                  <a:cubicBezTo>
                    <a:pt x="250" y="167"/>
                    <a:pt x="228" y="136"/>
                    <a:pt x="189" y="135"/>
                  </a:cubicBezTo>
                  <a:cubicBezTo>
                    <a:pt x="172" y="135"/>
                    <a:pt x="172" y="135"/>
                    <a:pt x="172" y="135"/>
                  </a:cubicBezTo>
                  <a:cubicBezTo>
                    <a:pt x="172" y="135"/>
                    <a:pt x="172" y="135"/>
                    <a:pt x="172" y="136"/>
                  </a:cubicBezTo>
                  <a:cubicBezTo>
                    <a:pt x="173" y="137"/>
                    <a:pt x="173" y="137"/>
                    <a:pt x="173" y="137"/>
                  </a:cubicBezTo>
                  <a:cubicBezTo>
                    <a:pt x="172" y="139"/>
                    <a:pt x="172" y="139"/>
                    <a:pt x="172" y="139"/>
                  </a:cubicBezTo>
                  <a:cubicBezTo>
                    <a:pt x="172" y="143"/>
                    <a:pt x="168" y="148"/>
                    <a:pt x="161" y="155"/>
                  </a:cubicBezTo>
                  <a:cubicBezTo>
                    <a:pt x="173" y="232"/>
                    <a:pt x="173" y="232"/>
                    <a:pt x="173" y="232"/>
                  </a:cubicBezTo>
                  <a:cubicBezTo>
                    <a:pt x="148" y="263"/>
                    <a:pt x="148" y="263"/>
                    <a:pt x="148" y="263"/>
                  </a:cubicBezTo>
                  <a:cubicBezTo>
                    <a:pt x="138" y="250"/>
                    <a:pt x="138" y="250"/>
                    <a:pt x="138" y="250"/>
                  </a:cubicBezTo>
                  <a:cubicBezTo>
                    <a:pt x="123" y="233"/>
                    <a:pt x="123" y="233"/>
                    <a:pt x="123" y="233"/>
                  </a:cubicBezTo>
                  <a:cubicBezTo>
                    <a:pt x="133" y="155"/>
                    <a:pt x="133" y="155"/>
                    <a:pt x="133" y="155"/>
                  </a:cubicBezTo>
                  <a:cubicBezTo>
                    <a:pt x="126" y="149"/>
                    <a:pt x="122" y="143"/>
                    <a:pt x="122" y="139"/>
                  </a:cubicBezTo>
                  <a:cubicBezTo>
                    <a:pt x="122" y="138"/>
                    <a:pt x="122" y="138"/>
                    <a:pt x="122" y="138"/>
                  </a:cubicBezTo>
                  <a:cubicBezTo>
                    <a:pt x="122" y="136"/>
                    <a:pt x="122" y="136"/>
                    <a:pt x="122" y="136"/>
                  </a:cubicBezTo>
                  <a:cubicBezTo>
                    <a:pt x="122" y="136"/>
                    <a:pt x="122" y="135"/>
                    <a:pt x="122" y="135"/>
                  </a:cubicBezTo>
                  <a:cubicBezTo>
                    <a:pt x="101" y="135"/>
                    <a:pt x="101" y="135"/>
                    <a:pt x="101" y="135"/>
                  </a:cubicBezTo>
                  <a:cubicBezTo>
                    <a:pt x="61" y="135"/>
                    <a:pt x="39" y="167"/>
                    <a:pt x="33" y="185"/>
                  </a:cubicBezTo>
                  <a:cubicBezTo>
                    <a:pt x="0" y="293"/>
                    <a:pt x="0" y="293"/>
                    <a:pt x="0" y="293"/>
                  </a:cubicBezTo>
                  <a:cubicBezTo>
                    <a:pt x="49" y="293"/>
                    <a:pt x="49" y="293"/>
                    <a:pt x="49" y="293"/>
                  </a:cubicBezTo>
                  <a:cubicBezTo>
                    <a:pt x="69" y="222"/>
                    <a:pt x="69" y="222"/>
                    <a:pt x="69" y="222"/>
                  </a:cubicBezTo>
                  <a:cubicBezTo>
                    <a:pt x="84" y="222"/>
                    <a:pt x="84" y="222"/>
                    <a:pt x="84" y="222"/>
                  </a:cubicBezTo>
                  <a:cubicBezTo>
                    <a:pt x="63" y="293"/>
                    <a:pt x="63" y="293"/>
                    <a:pt x="63" y="293"/>
                  </a:cubicBezTo>
                  <a:cubicBezTo>
                    <a:pt x="225" y="293"/>
                    <a:pt x="225" y="293"/>
                    <a:pt x="225" y="293"/>
                  </a:cubicBezTo>
                  <a:cubicBezTo>
                    <a:pt x="205" y="221"/>
                    <a:pt x="205" y="221"/>
                    <a:pt x="205" y="221"/>
                  </a:cubicBezTo>
                  <a:cubicBezTo>
                    <a:pt x="219" y="221"/>
                    <a:pt x="219" y="221"/>
                    <a:pt x="219" y="221"/>
                  </a:cubicBezTo>
                  <a:lnTo>
                    <a:pt x="240" y="293"/>
                  </a:lnTo>
                  <a:close/>
                  <a:moveTo>
                    <a:pt x="154" y="150"/>
                  </a:moveTo>
                  <a:cubicBezTo>
                    <a:pt x="163" y="142"/>
                    <a:pt x="164" y="138"/>
                    <a:pt x="164" y="138"/>
                  </a:cubicBezTo>
                  <a:cubicBezTo>
                    <a:pt x="164" y="137"/>
                    <a:pt x="164" y="137"/>
                    <a:pt x="164" y="137"/>
                  </a:cubicBezTo>
                  <a:cubicBezTo>
                    <a:pt x="164" y="137"/>
                    <a:pt x="163" y="136"/>
                    <a:pt x="162" y="135"/>
                  </a:cubicBezTo>
                  <a:cubicBezTo>
                    <a:pt x="161" y="134"/>
                    <a:pt x="160" y="133"/>
                    <a:pt x="158" y="132"/>
                  </a:cubicBezTo>
                  <a:cubicBezTo>
                    <a:pt x="155" y="131"/>
                    <a:pt x="151" y="130"/>
                    <a:pt x="147" y="130"/>
                  </a:cubicBezTo>
                  <a:cubicBezTo>
                    <a:pt x="144" y="130"/>
                    <a:pt x="140" y="131"/>
                    <a:pt x="137" y="132"/>
                  </a:cubicBezTo>
                  <a:cubicBezTo>
                    <a:pt x="135" y="133"/>
                    <a:pt x="133" y="134"/>
                    <a:pt x="132" y="135"/>
                  </a:cubicBezTo>
                  <a:cubicBezTo>
                    <a:pt x="131" y="136"/>
                    <a:pt x="131" y="137"/>
                    <a:pt x="131" y="138"/>
                  </a:cubicBezTo>
                  <a:cubicBezTo>
                    <a:pt x="131" y="138"/>
                    <a:pt x="131" y="138"/>
                    <a:pt x="131" y="138"/>
                  </a:cubicBezTo>
                  <a:cubicBezTo>
                    <a:pt x="131" y="138"/>
                    <a:pt x="131" y="142"/>
                    <a:pt x="140" y="150"/>
                  </a:cubicBezTo>
                  <a:cubicBezTo>
                    <a:pt x="143" y="152"/>
                    <a:pt x="143" y="152"/>
                    <a:pt x="143" y="152"/>
                  </a:cubicBezTo>
                  <a:cubicBezTo>
                    <a:pt x="132" y="230"/>
                    <a:pt x="132" y="230"/>
                    <a:pt x="132" y="230"/>
                  </a:cubicBezTo>
                  <a:cubicBezTo>
                    <a:pt x="144" y="244"/>
                    <a:pt x="144" y="244"/>
                    <a:pt x="144" y="244"/>
                  </a:cubicBezTo>
                  <a:cubicBezTo>
                    <a:pt x="146" y="247"/>
                    <a:pt x="146" y="247"/>
                    <a:pt x="146" y="247"/>
                  </a:cubicBezTo>
                  <a:cubicBezTo>
                    <a:pt x="148" y="249"/>
                    <a:pt x="148" y="249"/>
                    <a:pt x="148" y="249"/>
                  </a:cubicBezTo>
                  <a:cubicBezTo>
                    <a:pt x="150" y="247"/>
                    <a:pt x="150" y="247"/>
                    <a:pt x="150" y="247"/>
                  </a:cubicBezTo>
                  <a:cubicBezTo>
                    <a:pt x="152" y="244"/>
                    <a:pt x="152" y="244"/>
                    <a:pt x="152" y="244"/>
                  </a:cubicBezTo>
                  <a:cubicBezTo>
                    <a:pt x="164" y="230"/>
                    <a:pt x="164" y="230"/>
                    <a:pt x="164" y="230"/>
                  </a:cubicBezTo>
                  <a:cubicBezTo>
                    <a:pt x="152" y="152"/>
                    <a:pt x="152" y="152"/>
                    <a:pt x="152" y="152"/>
                  </a:cubicBezTo>
                  <a:lnTo>
                    <a:pt x="154" y="15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914225"/>
              <a:endParaRPr lang="en-US" dirty="0">
                <a:solidFill>
                  <a:srgbClr val="505050"/>
                </a:solidFill>
              </a:endParaRPr>
            </a:p>
          </p:txBody>
        </p:sp>
        <p:sp>
          <p:nvSpPr>
            <p:cNvPr id="39" name="Freeform 25"/>
            <p:cNvSpPr>
              <a:spLocks noChangeAspect="1" noEditPoints="1"/>
            </p:cNvSpPr>
            <p:nvPr/>
          </p:nvSpPr>
          <p:spPr bwMode="auto">
            <a:xfrm>
              <a:off x="9890691" y="4646581"/>
              <a:ext cx="637477" cy="685800"/>
            </a:xfrm>
            <a:custGeom>
              <a:avLst/>
              <a:gdLst>
                <a:gd name="T0" fmla="*/ 106 w 287"/>
                <a:gd name="T1" fmla="*/ 17 h 309"/>
                <a:gd name="T2" fmla="*/ 147 w 287"/>
                <a:gd name="T3" fmla="*/ 115 h 309"/>
                <a:gd name="T4" fmla="*/ 107 w 287"/>
                <a:gd name="T5" fmla="*/ 99 h 309"/>
                <a:gd name="T6" fmla="*/ 195 w 287"/>
                <a:gd name="T7" fmla="*/ 238 h 309"/>
                <a:gd name="T8" fmla="*/ 207 w 287"/>
                <a:gd name="T9" fmla="*/ 218 h 309"/>
                <a:gd name="T10" fmla="*/ 226 w 287"/>
                <a:gd name="T11" fmla="*/ 216 h 309"/>
                <a:gd name="T12" fmla="*/ 243 w 287"/>
                <a:gd name="T13" fmla="*/ 180 h 309"/>
                <a:gd name="T14" fmla="*/ 241 w 287"/>
                <a:gd name="T15" fmla="*/ 177 h 309"/>
                <a:gd name="T16" fmla="*/ 229 w 287"/>
                <a:gd name="T17" fmla="*/ 191 h 309"/>
                <a:gd name="T18" fmla="*/ 217 w 287"/>
                <a:gd name="T19" fmla="*/ 203 h 309"/>
                <a:gd name="T20" fmla="*/ 208 w 287"/>
                <a:gd name="T21" fmla="*/ 200 h 309"/>
                <a:gd name="T22" fmla="*/ 198 w 287"/>
                <a:gd name="T23" fmla="*/ 191 h 309"/>
                <a:gd name="T24" fmla="*/ 204 w 287"/>
                <a:gd name="T25" fmla="*/ 175 h 309"/>
                <a:gd name="T26" fmla="*/ 217 w 287"/>
                <a:gd name="T27" fmla="*/ 172 h 309"/>
                <a:gd name="T28" fmla="*/ 211 w 287"/>
                <a:gd name="T29" fmla="*/ 157 h 309"/>
                <a:gd name="T30" fmla="*/ 191 w 287"/>
                <a:gd name="T31" fmla="*/ 166 h 309"/>
                <a:gd name="T32" fmla="*/ 189 w 287"/>
                <a:gd name="T33" fmla="*/ 203 h 309"/>
                <a:gd name="T34" fmla="*/ 159 w 287"/>
                <a:gd name="T35" fmla="*/ 250 h 309"/>
                <a:gd name="T36" fmla="*/ 144 w 287"/>
                <a:gd name="T37" fmla="*/ 250 h 309"/>
                <a:gd name="T38" fmla="*/ 128 w 287"/>
                <a:gd name="T39" fmla="*/ 288 h 309"/>
                <a:gd name="T40" fmla="*/ 140 w 287"/>
                <a:gd name="T41" fmla="*/ 287 h 309"/>
                <a:gd name="T42" fmla="*/ 142 w 287"/>
                <a:gd name="T43" fmla="*/ 272 h 309"/>
                <a:gd name="T44" fmla="*/ 163 w 287"/>
                <a:gd name="T45" fmla="*/ 264 h 309"/>
                <a:gd name="T46" fmla="*/ 171 w 287"/>
                <a:gd name="T47" fmla="*/ 279 h 309"/>
                <a:gd name="T48" fmla="*/ 164 w 287"/>
                <a:gd name="T49" fmla="*/ 292 h 309"/>
                <a:gd name="T50" fmla="*/ 154 w 287"/>
                <a:gd name="T51" fmla="*/ 297 h 309"/>
                <a:gd name="T52" fmla="*/ 158 w 287"/>
                <a:gd name="T53" fmla="*/ 309 h 309"/>
                <a:gd name="T54" fmla="*/ 183 w 287"/>
                <a:gd name="T55" fmla="*/ 292 h 309"/>
                <a:gd name="T56" fmla="*/ 187 w 287"/>
                <a:gd name="T57" fmla="*/ 274 h 309"/>
                <a:gd name="T58" fmla="*/ 189 w 287"/>
                <a:gd name="T59" fmla="*/ 134 h 309"/>
                <a:gd name="T60" fmla="*/ 122 w 287"/>
                <a:gd name="T61" fmla="*/ 134 h 309"/>
                <a:gd name="T62" fmla="*/ 109 w 287"/>
                <a:gd name="T63" fmla="*/ 134 h 309"/>
                <a:gd name="T64" fmla="*/ 0 w 287"/>
                <a:gd name="T65" fmla="*/ 292 h 309"/>
                <a:gd name="T66" fmla="*/ 83 w 287"/>
                <a:gd name="T67" fmla="*/ 221 h 309"/>
                <a:gd name="T68" fmla="*/ 119 w 287"/>
                <a:gd name="T69" fmla="*/ 290 h 309"/>
                <a:gd name="T70" fmla="*/ 121 w 287"/>
                <a:gd name="T71" fmla="*/ 261 h 309"/>
                <a:gd name="T72" fmla="*/ 145 w 287"/>
                <a:gd name="T73" fmla="*/ 241 h 309"/>
                <a:gd name="T74" fmla="*/ 181 w 287"/>
                <a:gd name="T75" fmla="*/ 205 h 309"/>
                <a:gd name="T76" fmla="*/ 176 w 287"/>
                <a:gd name="T77" fmla="*/ 194 h 309"/>
                <a:gd name="T78" fmla="*/ 175 w 287"/>
                <a:gd name="T79" fmla="*/ 187 h 309"/>
                <a:gd name="T80" fmla="*/ 207 w 287"/>
                <a:gd name="T81" fmla="*/ 150 h 309"/>
                <a:gd name="T82" fmla="*/ 211 w 287"/>
                <a:gd name="T83" fmla="*/ 149 h 309"/>
                <a:gd name="T84" fmla="*/ 222 w 287"/>
                <a:gd name="T85" fmla="*/ 156 h 309"/>
                <a:gd name="T86" fmla="*/ 225 w 287"/>
                <a:gd name="T87" fmla="*/ 173 h 309"/>
                <a:gd name="T88" fmla="*/ 241 w 287"/>
                <a:gd name="T89" fmla="*/ 169 h 309"/>
                <a:gd name="T90" fmla="*/ 251 w 287"/>
                <a:gd name="T91" fmla="*/ 178 h 309"/>
                <a:gd name="T92" fmla="*/ 254 w 287"/>
                <a:gd name="T93" fmla="*/ 199 h 309"/>
                <a:gd name="T94" fmla="*/ 250 w 287"/>
                <a:gd name="T95" fmla="*/ 204 h 309"/>
                <a:gd name="T96" fmla="*/ 225 w 287"/>
                <a:gd name="T97" fmla="*/ 226 h 309"/>
                <a:gd name="T98" fmla="*/ 220 w 287"/>
                <a:gd name="T99" fmla="*/ 226 h 309"/>
                <a:gd name="T100" fmla="*/ 255 w 287"/>
                <a:gd name="T101" fmla="*/ 184 h 309"/>
                <a:gd name="T102" fmla="*/ 194 w 287"/>
                <a:gd name="T103" fmla="*/ 270 h 309"/>
                <a:gd name="T104" fmla="*/ 195 w 287"/>
                <a:gd name="T105" fmla="*/ 277 h 309"/>
                <a:gd name="T106" fmla="*/ 191 w 287"/>
                <a:gd name="T107" fmla="*/ 292 h 309"/>
                <a:gd name="T108" fmla="*/ 188 w 287"/>
                <a:gd name="T109" fmla="*/ 263 h 3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87" h="309">
                  <a:moveTo>
                    <a:pt x="107" y="99"/>
                  </a:moveTo>
                  <a:cubicBezTo>
                    <a:pt x="96" y="88"/>
                    <a:pt x="90" y="74"/>
                    <a:pt x="90" y="58"/>
                  </a:cubicBezTo>
                  <a:cubicBezTo>
                    <a:pt x="90" y="43"/>
                    <a:pt x="95" y="28"/>
                    <a:pt x="106" y="17"/>
                  </a:cubicBezTo>
                  <a:cubicBezTo>
                    <a:pt x="117" y="6"/>
                    <a:pt x="131" y="0"/>
                    <a:pt x="146" y="0"/>
                  </a:cubicBezTo>
                  <a:cubicBezTo>
                    <a:pt x="177" y="0"/>
                    <a:pt x="202" y="26"/>
                    <a:pt x="202" y="57"/>
                  </a:cubicBezTo>
                  <a:cubicBezTo>
                    <a:pt x="203" y="89"/>
                    <a:pt x="178" y="115"/>
                    <a:pt x="147" y="115"/>
                  </a:cubicBezTo>
                  <a:cubicBezTo>
                    <a:pt x="147" y="115"/>
                    <a:pt x="147" y="115"/>
                    <a:pt x="147" y="115"/>
                  </a:cubicBezTo>
                  <a:cubicBezTo>
                    <a:pt x="146" y="115"/>
                    <a:pt x="146" y="115"/>
                    <a:pt x="146" y="115"/>
                  </a:cubicBezTo>
                  <a:cubicBezTo>
                    <a:pt x="131" y="115"/>
                    <a:pt x="117" y="110"/>
                    <a:pt x="107" y="99"/>
                  </a:cubicBezTo>
                  <a:close/>
                  <a:moveTo>
                    <a:pt x="180" y="264"/>
                  </a:moveTo>
                  <a:cubicBezTo>
                    <a:pt x="180" y="264"/>
                    <a:pt x="179" y="262"/>
                    <a:pt x="180" y="260"/>
                  </a:cubicBezTo>
                  <a:cubicBezTo>
                    <a:pt x="186" y="251"/>
                    <a:pt x="191" y="244"/>
                    <a:pt x="195" y="238"/>
                  </a:cubicBezTo>
                  <a:cubicBezTo>
                    <a:pt x="205" y="221"/>
                    <a:pt x="207" y="219"/>
                    <a:pt x="207" y="219"/>
                  </a:cubicBezTo>
                  <a:cubicBezTo>
                    <a:pt x="207" y="218"/>
                    <a:pt x="207" y="218"/>
                    <a:pt x="207" y="218"/>
                  </a:cubicBezTo>
                  <a:cubicBezTo>
                    <a:pt x="207" y="218"/>
                    <a:pt x="207" y="218"/>
                    <a:pt x="207" y="218"/>
                  </a:cubicBezTo>
                  <a:cubicBezTo>
                    <a:pt x="209" y="217"/>
                    <a:pt x="210" y="216"/>
                    <a:pt x="210" y="216"/>
                  </a:cubicBezTo>
                  <a:cubicBezTo>
                    <a:pt x="224" y="218"/>
                    <a:pt x="224" y="218"/>
                    <a:pt x="224" y="218"/>
                  </a:cubicBezTo>
                  <a:cubicBezTo>
                    <a:pt x="224" y="218"/>
                    <a:pt x="225" y="218"/>
                    <a:pt x="226" y="216"/>
                  </a:cubicBezTo>
                  <a:cubicBezTo>
                    <a:pt x="244" y="199"/>
                    <a:pt x="244" y="199"/>
                    <a:pt x="244" y="199"/>
                  </a:cubicBezTo>
                  <a:cubicBezTo>
                    <a:pt x="245" y="197"/>
                    <a:pt x="245" y="197"/>
                    <a:pt x="245" y="197"/>
                  </a:cubicBezTo>
                  <a:cubicBezTo>
                    <a:pt x="243" y="180"/>
                    <a:pt x="243" y="180"/>
                    <a:pt x="243" y="180"/>
                  </a:cubicBezTo>
                  <a:cubicBezTo>
                    <a:pt x="243" y="178"/>
                    <a:pt x="243" y="178"/>
                    <a:pt x="243" y="178"/>
                  </a:cubicBezTo>
                  <a:cubicBezTo>
                    <a:pt x="243" y="178"/>
                    <a:pt x="242" y="177"/>
                    <a:pt x="241" y="177"/>
                  </a:cubicBezTo>
                  <a:cubicBezTo>
                    <a:pt x="241" y="177"/>
                    <a:pt x="241" y="177"/>
                    <a:pt x="241" y="177"/>
                  </a:cubicBezTo>
                  <a:cubicBezTo>
                    <a:pt x="230" y="179"/>
                    <a:pt x="230" y="179"/>
                    <a:pt x="230" y="179"/>
                  </a:cubicBezTo>
                  <a:cubicBezTo>
                    <a:pt x="228" y="179"/>
                    <a:pt x="229" y="181"/>
                    <a:pt x="229" y="183"/>
                  </a:cubicBezTo>
                  <a:cubicBezTo>
                    <a:pt x="229" y="191"/>
                    <a:pt x="229" y="191"/>
                    <a:pt x="229" y="191"/>
                  </a:cubicBezTo>
                  <a:cubicBezTo>
                    <a:pt x="229" y="192"/>
                    <a:pt x="228" y="194"/>
                    <a:pt x="228" y="194"/>
                  </a:cubicBezTo>
                  <a:cubicBezTo>
                    <a:pt x="220" y="203"/>
                    <a:pt x="220" y="203"/>
                    <a:pt x="220" y="203"/>
                  </a:cubicBezTo>
                  <a:cubicBezTo>
                    <a:pt x="220" y="203"/>
                    <a:pt x="219" y="203"/>
                    <a:pt x="217" y="203"/>
                  </a:cubicBezTo>
                  <a:cubicBezTo>
                    <a:pt x="212" y="203"/>
                    <a:pt x="212" y="203"/>
                    <a:pt x="212" y="203"/>
                  </a:cubicBezTo>
                  <a:cubicBezTo>
                    <a:pt x="212" y="203"/>
                    <a:pt x="212" y="203"/>
                    <a:pt x="211" y="203"/>
                  </a:cubicBezTo>
                  <a:cubicBezTo>
                    <a:pt x="210" y="203"/>
                    <a:pt x="209" y="202"/>
                    <a:pt x="208" y="200"/>
                  </a:cubicBezTo>
                  <a:cubicBezTo>
                    <a:pt x="205" y="199"/>
                    <a:pt x="205" y="199"/>
                    <a:pt x="205" y="199"/>
                  </a:cubicBezTo>
                  <a:cubicBezTo>
                    <a:pt x="203" y="198"/>
                    <a:pt x="203" y="197"/>
                    <a:pt x="201" y="195"/>
                  </a:cubicBezTo>
                  <a:cubicBezTo>
                    <a:pt x="198" y="191"/>
                    <a:pt x="198" y="191"/>
                    <a:pt x="198" y="191"/>
                  </a:cubicBezTo>
                  <a:cubicBezTo>
                    <a:pt x="198" y="191"/>
                    <a:pt x="198" y="189"/>
                    <a:pt x="199" y="188"/>
                  </a:cubicBezTo>
                  <a:cubicBezTo>
                    <a:pt x="202" y="179"/>
                    <a:pt x="202" y="179"/>
                    <a:pt x="202" y="179"/>
                  </a:cubicBezTo>
                  <a:cubicBezTo>
                    <a:pt x="202" y="177"/>
                    <a:pt x="203" y="175"/>
                    <a:pt x="204" y="175"/>
                  </a:cubicBezTo>
                  <a:cubicBezTo>
                    <a:pt x="214" y="173"/>
                    <a:pt x="214" y="173"/>
                    <a:pt x="214" y="173"/>
                  </a:cubicBezTo>
                  <a:cubicBezTo>
                    <a:pt x="215" y="172"/>
                    <a:pt x="215" y="172"/>
                    <a:pt x="215" y="172"/>
                  </a:cubicBezTo>
                  <a:cubicBezTo>
                    <a:pt x="215" y="172"/>
                    <a:pt x="215" y="172"/>
                    <a:pt x="217" y="172"/>
                  </a:cubicBezTo>
                  <a:cubicBezTo>
                    <a:pt x="217" y="172"/>
                    <a:pt x="216" y="171"/>
                    <a:pt x="216" y="169"/>
                  </a:cubicBezTo>
                  <a:cubicBezTo>
                    <a:pt x="214" y="158"/>
                    <a:pt x="214" y="158"/>
                    <a:pt x="214" y="158"/>
                  </a:cubicBezTo>
                  <a:cubicBezTo>
                    <a:pt x="214" y="158"/>
                    <a:pt x="212" y="157"/>
                    <a:pt x="211" y="157"/>
                  </a:cubicBezTo>
                  <a:cubicBezTo>
                    <a:pt x="211" y="157"/>
                    <a:pt x="210" y="157"/>
                    <a:pt x="210" y="157"/>
                  </a:cubicBezTo>
                  <a:cubicBezTo>
                    <a:pt x="194" y="164"/>
                    <a:pt x="194" y="164"/>
                    <a:pt x="194" y="164"/>
                  </a:cubicBezTo>
                  <a:cubicBezTo>
                    <a:pt x="192" y="164"/>
                    <a:pt x="191" y="165"/>
                    <a:pt x="191" y="166"/>
                  </a:cubicBezTo>
                  <a:cubicBezTo>
                    <a:pt x="183" y="189"/>
                    <a:pt x="183" y="189"/>
                    <a:pt x="183" y="189"/>
                  </a:cubicBezTo>
                  <a:cubicBezTo>
                    <a:pt x="183" y="189"/>
                    <a:pt x="183" y="191"/>
                    <a:pt x="184" y="193"/>
                  </a:cubicBezTo>
                  <a:cubicBezTo>
                    <a:pt x="189" y="203"/>
                    <a:pt x="189" y="203"/>
                    <a:pt x="189" y="203"/>
                  </a:cubicBezTo>
                  <a:cubicBezTo>
                    <a:pt x="191" y="204"/>
                    <a:pt x="190" y="206"/>
                    <a:pt x="190" y="206"/>
                  </a:cubicBezTo>
                  <a:cubicBezTo>
                    <a:pt x="162" y="250"/>
                    <a:pt x="162" y="250"/>
                    <a:pt x="162" y="250"/>
                  </a:cubicBezTo>
                  <a:cubicBezTo>
                    <a:pt x="162" y="250"/>
                    <a:pt x="160" y="250"/>
                    <a:pt x="159" y="250"/>
                  </a:cubicBezTo>
                  <a:cubicBezTo>
                    <a:pt x="147" y="250"/>
                    <a:pt x="147" y="250"/>
                    <a:pt x="147" y="250"/>
                  </a:cubicBezTo>
                  <a:cubicBezTo>
                    <a:pt x="146" y="249"/>
                    <a:pt x="145" y="249"/>
                    <a:pt x="145" y="249"/>
                  </a:cubicBezTo>
                  <a:cubicBezTo>
                    <a:pt x="144" y="249"/>
                    <a:pt x="144" y="249"/>
                    <a:pt x="144" y="250"/>
                  </a:cubicBezTo>
                  <a:cubicBezTo>
                    <a:pt x="126" y="267"/>
                    <a:pt x="126" y="267"/>
                    <a:pt x="126" y="267"/>
                  </a:cubicBezTo>
                  <a:cubicBezTo>
                    <a:pt x="125" y="268"/>
                    <a:pt x="125" y="269"/>
                    <a:pt x="125" y="271"/>
                  </a:cubicBezTo>
                  <a:cubicBezTo>
                    <a:pt x="128" y="288"/>
                    <a:pt x="128" y="288"/>
                    <a:pt x="128" y="288"/>
                  </a:cubicBezTo>
                  <a:cubicBezTo>
                    <a:pt x="126" y="289"/>
                    <a:pt x="127" y="290"/>
                    <a:pt x="129" y="290"/>
                  </a:cubicBezTo>
                  <a:cubicBezTo>
                    <a:pt x="129" y="290"/>
                    <a:pt x="129" y="290"/>
                    <a:pt x="129" y="290"/>
                  </a:cubicBezTo>
                  <a:cubicBezTo>
                    <a:pt x="140" y="287"/>
                    <a:pt x="140" y="287"/>
                    <a:pt x="140" y="287"/>
                  </a:cubicBezTo>
                  <a:cubicBezTo>
                    <a:pt x="142" y="287"/>
                    <a:pt x="142" y="285"/>
                    <a:pt x="142" y="285"/>
                  </a:cubicBezTo>
                  <a:cubicBezTo>
                    <a:pt x="141" y="275"/>
                    <a:pt x="141" y="275"/>
                    <a:pt x="141" y="275"/>
                  </a:cubicBezTo>
                  <a:cubicBezTo>
                    <a:pt x="141" y="274"/>
                    <a:pt x="140" y="272"/>
                    <a:pt x="142" y="272"/>
                  </a:cubicBezTo>
                  <a:cubicBezTo>
                    <a:pt x="149" y="266"/>
                    <a:pt x="149" y="266"/>
                    <a:pt x="149" y="266"/>
                  </a:cubicBezTo>
                  <a:cubicBezTo>
                    <a:pt x="150" y="264"/>
                    <a:pt x="152" y="263"/>
                    <a:pt x="153" y="263"/>
                  </a:cubicBezTo>
                  <a:cubicBezTo>
                    <a:pt x="163" y="264"/>
                    <a:pt x="163" y="264"/>
                    <a:pt x="163" y="264"/>
                  </a:cubicBezTo>
                  <a:cubicBezTo>
                    <a:pt x="164" y="266"/>
                    <a:pt x="165" y="265"/>
                    <a:pt x="165" y="267"/>
                  </a:cubicBezTo>
                  <a:cubicBezTo>
                    <a:pt x="171" y="276"/>
                    <a:pt x="171" y="276"/>
                    <a:pt x="171" y="276"/>
                  </a:cubicBezTo>
                  <a:cubicBezTo>
                    <a:pt x="173" y="277"/>
                    <a:pt x="171" y="279"/>
                    <a:pt x="171" y="279"/>
                  </a:cubicBezTo>
                  <a:cubicBezTo>
                    <a:pt x="169" y="289"/>
                    <a:pt x="169" y="289"/>
                    <a:pt x="169" y="289"/>
                  </a:cubicBezTo>
                  <a:cubicBezTo>
                    <a:pt x="167" y="289"/>
                    <a:pt x="167" y="291"/>
                    <a:pt x="166" y="291"/>
                  </a:cubicBezTo>
                  <a:cubicBezTo>
                    <a:pt x="165" y="292"/>
                    <a:pt x="165" y="292"/>
                    <a:pt x="164" y="292"/>
                  </a:cubicBezTo>
                  <a:cubicBezTo>
                    <a:pt x="157" y="295"/>
                    <a:pt x="157" y="295"/>
                    <a:pt x="157" y="295"/>
                  </a:cubicBezTo>
                  <a:cubicBezTo>
                    <a:pt x="155" y="295"/>
                    <a:pt x="154" y="296"/>
                    <a:pt x="154" y="296"/>
                  </a:cubicBezTo>
                  <a:cubicBezTo>
                    <a:pt x="154" y="296"/>
                    <a:pt x="154" y="296"/>
                    <a:pt x="154" y="297"/>
                  </a:cubicBezTo>
                  <a:cubicBezTo>
                    <a:pt x="156" y="308"/>
                    <a:pt x="156" y="308"/>
                    <a:pt x="156" y="308"/>
                  </a:cubicBezTo>
                  <a:cubicBezTo>
                    <a:pt x="157" y="309"/>
                    <a:pt x="157" y="309"/>
                    <a:pt x="158" y="309"/>
                  </a:cubicBezTo>
                  <a:cubicBezTo>
                    <a:pt x="158" y="309"/>
                    <a:pt x="158" y="309"/>
                    <a:pt x="158" y="309"/>
                  </a:cubicBezTo>
                  <a:cubicBezTo>
                    <a:pt x="177" y="304"/>
                    <a:pt x="177" y="304"/>
                    <a:pt x="177" y="304"/>
                  </a:cubicBezTo>
                  <a:cubicBezTo>
                    <a:pt x="177" y="304"/>
                    <a:pt x="178" y="302"/>
                    <a:pt x="180" y="302"/>
                  </a:cubicBezTo>
                  <a:cubicBezTo>
                    <a:pt x="181" y="298"/>
                    <a:pt x="182" y="295"/>
                    <a:pt x="183" y="292"/>
                  </a:cubicBezTo>
                  <a:cubicBezTo>
                    <a:pt x="187" y="280"/>
                    <a:pt x="188" y="279"/>
                    <a:pt x="188" y="278"/>
                  </a:cubicBezTo>
                  <a:cubicBezTo>
                    <a:pt x="188" y="278"/>
                    <a:pt x="188" y="278"/>
                    <a:pt x="188" y="278"/>
                  </a:cubicBezTo>
                  <a:cubicBezTo>
                    <a:pt x="187" y="277"/>
                    <a:pt x="187" y="275"/>
                    <a:pt x="187" y="274"/>
                  </a:cubicBezTo>
                  <a:cubicBezTo>
                    <a:pt x="180" y="264"/>
                    <a:pt x="180" y="264"/>
                    <a:pt x="180" y="264"/>
                  </a:cubicBezTo>
                  <a:close/>
                  <a:moveTo>
                    <a:pt x="255" y="184"/>
                  </a:moveTo>
                  <a:cubicBezTo>
                    <a:pt x="249" y="167"/>
                    <a:pt x="227" y="135"/>
                    <a:pt x="189" y="134"/>
                  </a:cubicBezTo>
                  <a:cubicBezTo>
                    <a:pt x="172" y="134"/>
                    <a:pt x="172" y="134"/>
                    <a:pt x="172" y="134"/>
                  </a:cubicBezTo>
                  <a:cubicBezTo>
                    <a:pt x="172" y="134"/>
                    <a:pt x="172" y="134"/>
                    <a:pt x="172" y="134"/>
                  </a:cubicBezTo>
                  <a:cubicBezTo>
                    <a:pt x="122" y="134"/>
                    <a:pt x="122" y="134"/>
                    <a:pt x="122" y="134"/>
                  </a:cubicBezTo>
                  <a:cubicBezTo>
                    <a:pt x="122" y="134"/>
                    <a:pt x="122" y="134"/>
                    <a:pt x="122" y="134"/>
                  </a:cubicBezTo>
                  <a:cubicBezTo>
                    <a:pt x="111" y="134"/>
                    <a:pt x="111" y="134"/>
                    <a:pt x="111" y="134"/>
                  </a:cubicBezTo>
                  <a:cubicBezTo>
                    <a:pt x="109" y="134"/>
                    <a:pt x="109" y="134"/>
                    <a:pt x="109" y="134"/>
                  </a:cubicBezTo>
                  <a:cubicBezTo>
                    <a:pt x="100" y="134"/>
                    <a:pt x="100" y="134"/>
                    <a:pt x="100" y="134"/>
                  </a:cubicBezTo>
                  <a:cubicBezTo>
                    <a:pt x="61" y="135"/>
                    <a:pt x="38" y="167"/>
                    <a:pt x="33" y="185"/>
                  </a:cubicBezTo>
                  <a:cubicBezTo>
                    <a:pt x="0" y="292"/>
                    <a:pt x="0" y="292"/>
                    <a:pt x="0" y="292"/>
                  </a:cubicBezTo>
                  <a:cubicBezTo>
                    <a:pt x="48" y="292"/>
                    <a:pt x="48" y="292"/>
                    <a:pt x="48" y="292"/>
                  </a:cubicBezTo>
                  <a:cubicBezTo>
                    <a:pt x="69" y="221"/>
                    <a:pt x="69" y="221"/>
                    <a:pt x="69" y="221"/>
                  </a:cubicBezTo>
                  <a:cubicBezTo>
                    <a:pt x="83" y="221"/>
                    <a:pt x="83" y="221"/>
                    <a:pt x="83" y="221"/>
                  </a:cubicBezTo>
                  <a:cubicBezTo>
                    <a:pt x="63" y="292"/>
                    <a:pt x="63" y="292"/>
                    <a:pt x="63" y="292"/>
                  </a:cubicBezTo>
                  <a:cubicBezTo>
                    <a:pt x="120" y="292"/>
                    <a:pt x="120" y="292"/>
                    <a:pt x="120" y="292"/>
                  </a:cubicBezTo>
                  <a:cubicBezTo>
                    <a:pt x="119" y="291"/>
                    <a:pt x="119" y="291"/>
                    <a:pt x="119" y="290"/>
                  </a:cubicBezTo>
                  <a:cubicBezTo>
                    <a:pt x="119" y="289"/>
                    <a:pt x="119" y="287"/>
                    <a:pt x="119" y="286"/>
                  </a:cubicBezTo>
                  <a:cubicBezTo>
                    <a:pt x="117" y="272"/>
                    <a:pt x="117" y="272"/>
                    <a:pt x="117" y="272"/>
                  </a:cubicBezTo>
                  <a:cubicBezTo>
                    <a:pt x="116" y="265"/>
                    <a:pt x="119" y="262"/>
                    <a:pt x="121" y="261"/>
                  </a:cubicBezTo>
                  <a:cubicBezTo>
                    <a:pt x="137" y="246"/>
                    <a:pt x="137" y="246"/>
                    <a:pt x="137" y="246"/>
                  </a:cubicBezTo>
                  <a:cubicBezTo>
                    <a:pt x="137" y="246"/>
                    <a:pt x="137" y="245"/>
                    <a:pt x="138" y="244"/>
                  </a:cubicBezTo>
                  <a:cubicBezTo>
                    <a:pt x="139" y="242"/>
                    <a:pt x="142" y="241"/>
                    <a:pt x="145" y="241"/>
                  </a:cubicBezTo>
                  <a:cubicBezTo>
                    <a:pt x="146" y="241"/>
                    <a:pt x="148" y="241"/>
                    <a:pt x="149" y="242"/>
                  </a:cubicBezTo>
                  <a:cubicBezTo>
                    <a:pt x="157" y="242"/>
                    <a:pt x="157" y="242"/>
                    <a:pt x="157" y="242"/>
                  </a:cubicBezTo>
                  <a:cubicBezTo>
                    <a:pt x="181" y="205"/>
                    <a:pt x="181" y="205"/>
                    <a:pt x="181" y="205"/>
                  </a:cubicBezTo>
                  <a:cubicBezTo>
                    <a:pt x="177" y="196"/>
                    <a:pt x="177" y="196"/>
                    <a:pt x="177" y="196"/>
                  </a:cubicBezTo>
                  <a:cubicBezTo>
                    <a:pt x="176" y="195"/>
                    <a:pt x="176" y="195"/>
                    <a:pt x="176" y="195"/>
                  </a:cubicBezTo>
                  <a:cubicBezTo>
                    <a:pt x="176" y="194"/>
                    <a:pt x="176" y="194"/>
                    <a:pt x="176" y="194"/>
                  </a:cubicBezTo>
                  <a:cubicBezTo>
                    <a:pt x="175" y="191"/>
                    <a:pt x="175" y="191"/>
                    <a:pt x="175" y="191"/>
                  </a:cubicBezTo>
                  <a:cubicBezTo>
                    <a:pt x="175" y="189"/>
                    <a:pt x="175" y="189"/>
                    <a:pt x="175" y="189"/>
                  </a:cubicBezTo>
                  <a:cubicBezTo>
                    <a:pt x="175" y="187"/>
                    <a:pt x="175" y="187"/>
                    <a:pt x="175" y="187"/>
                  </a:cubicBezTo>
                  <a:cubicBezTo>
                    <a:pt x="183" y="165"/>
                    <a:pt x="183" y="165"/>
                    <a:pt x="183" y="165"/>
                  </a:cubicBezTo>
                  <a:cubicBezTo>
                    <a:pt x="183" y="162"/>
                    <a:pt x="185" y="158"/>
                    <a:pt x="191" y="156"/>
                  </a:cubicBezTo>
                  <a:cubicBezTo>
                    <a:pt x="207" y="150"/>
                    <a:pt x="207" y="150"/>
                    <a:pt x="207" y="150"/>
                  </a:cubicBezTo>
                  <a:cubicBezTo>
                    <a:pt x="208" y="150"/>
                    <a:pt x="208" y="150"/>
                    <a:pt x="208" y="150"/>
                  </a:cubicBezTo>
                  <a:cubicBezTo>
                    <a:pt x="209" y="149"/>
                    <a:pt x="209" y="149"/>
                    <a:pt x="209" y="149"/>
                  </a:cubicBezTo>
                  <a:cubicBezTo>
                    <a:pt x="209" y="149"/>
                    <a:pt x="210" y="149"/>
                    <a:pt x="211" y="149"/>
                  </a:cubicBezTo>
                  <a:cubicBezTo>
                    <a:pt x="214" y="149"/>
                    <a:pt x="217" y="151"/>
                    <a:pt x="218" y="151"/>
                  </a:cubicBezTo>
                  <a:cubicBezTo>
                    <a:pt x="221" y="153"/>
                    <a:pt x="221" y="153"/>
                    <a:pt x="221" y="153"/>
                  </a:cubicBezTo>
                  <a:cubicBezTo>
                    <a:pt x="222" y="156"/>
                    <a:pt x="222" y="156"/>
                    <a:pt x="222" y="156"/>
                  </a:cubicBezTo>
                  <a:cubicBezTo>
                    <a:pt x="224" y="167"/>
                    <a:pt x="224" y="167"/>
                    <a:pt x="224" y="167"/>
                  </a:cubicBezTo>
                  <a:cubicBezTo>
                    <a:pt x="225" y="170"/>
                    <a:pt x="225" y="170"/>
                    <a:pt x="225" y="170"/>
                  </a:cubicBezTo>
                  <a:cubicBezTo>
                    <a:pt x="225" y="173"/>
                    <a:pt x="225" y="173"/>
                    <a:pt x="225" y="173"/>
                  </a:cubicBezTo>
                  <a:cubicBezTo>
                    <a:pt x="227" y="172"/>
                    <a:pt x="228" y="171"/>
                    <a:pt x="228" y="171"/>
                  </a:cubicBezTo>
                  <a:cubicBezTo>
                    <a:pt x="239" y="169"/>
                    <a:pt x="239" y="169"/>
                    <a:pt x="239" y="169"/>
                  </a:cubicBezTo>
                  <a:cubicBezTo>
                    <a:pt x="240" y="169"/>
                    <a:pt x="240" y="169"/>
                    <a:pt x="241" y="169"/>
                  </a:cubicBezTo>
                  <a:cubicBezTo>
                    <a:pt x="246" y="169"/>
                    <a:pt x="250" y="172"/>
                    <a:pt x="250" y="176"/>
                  </a:cubicBezTo>
                  <a:cubicBezTo>
                    <a:pt x="251" y="178"/>
                    <a:pt x="251" y="178"/>
                    <a:pt x="251" y="178"/>
                  </a:cubicBezTo>
                  <a:cubicBezTo>
                    <a:pt x="251" y="178"/>
                    <a:pt x="251" y="178"/>
                    <a:pt x="251" y="178"/>
                  </a:cubicBezTo>
                  <a:cubicBezTo>
                    <a:pt x="251" y="179"/>
                    <a:pt x="251" y="179"/>
                    <a:pt x="251" y="179"/>
                  </a:cubicBezTo>
                  <a:cubicBezTo>
                    <a:pt x="253" y="196"/>
                    <a:pt x="253" y="196"/>
                    <a:pt x="253" y="196"/>
                  </a:cubicBezTo>
                  <a:cubicBezTo>
                    <a:pt x="254" y="199"/>
                    <a:pt x="254" y="199"/>
                    <a:pt x="254" y="199"/>
                  </a:cubicBezTo>
                  <a:cubicBezTo>
                    <a:pt x="252" y="201"/>
                    <a:pt x="252" y="201"/>
                    <a:pt x="252" y="201"/>
                  </a:cubicBezTo>
                  <a:cubicBezTo>
                    <a:pt x="251" y="203"/>
                    <a:pt x="251" y="203"/>
                    <a:pt x="251" y="203"/>
                  </a:cubicBezTo>
                  <a:cubicBezTo>
                    <a:pt x="250" y="204"/>
                    <a:pt x="250" y="204"/>
                    <a:pt x="250" y="204"/>
                  </a:cubicBezTo>
                  <a:cubicBezTo>
                    <a:pt x="250" y="205"/>
                    <a:pt x="250" y="205"/>
                    <a:pt x="250" y="205"/>
                  </a:cubicBezTo>
                  <a:cubicBezTo>
                    <a:pt x="232" y="221"/>
                    <a:pt x="232" y="221"/>
                    <a:pt x="232" y="221"/>
                  </a:cubicBezTo>
                  <a:cubicBezTo>
                    <a:pt x="230" y="225"/>
                    <a:pt x="226" y="226"/>
                    <a:pt x="225" y="226"/>
                  </a:cubicBezTo>
                  <a:cubicBezTo>
                    <a:pt x="224" y="226"/>
                    <a:pt x="224" y="226"/>
                    <a:pt x="224" y="226"/>
                  </a:cubicBezTo>
                  <a:cubicBezTo>
                    <a:pt x="222" y="226"/>
                    <a:pt x="222" y="226"/>
                    <a:pt x="222" y="226"/>
                  </a:cubicBezTo>
                  <a:cubicBezTo>
                    <a:pt x="220" y="226"/>
                    <a:pt x="220" y="226"/>
                    <a:pt x="220" y="226"/>
                  </a:cubicBezTo>
                  <a:cubicBezTo>
                    <a:pt x="240" y="292"/>
                    <a:pt x="240" y="292"/>
                    <a:pt x="240" y="292"/>
                  </a:cubicBezTo>
                  <a:cubicBezTo>
                    <a:pt x="287" y="292"/>
                    <a:pt x="287" y="292"/>
                    <a:pt x="287" y="292"/>
                  </a:cubicBezTo>
                  <a:lnTo>
                    <a:pt x="255" y="184"/>
                  </a:lnTo>
                  <a:close/>
                  <a:moveTo>
                    <a:pt x="188" y="263"/>
                  </a:moveTo>
                  <a:cubicBezTo>
                    <a:pt x="193" y="269"/>
                    <a:pt x="193" y="269"/>
                    <a:pt x="193" y="269"/>
                  </a:cubicBezTo>
                  <a:cubicBezTo>
                    <a:pt x="194" y="270"/>
                    <a:pt x="194" y="270"/>
                    <a:pt x="194" y="270"/>
                  </a:cubicBezTo>
                  <a:cubicBezTo>
                    <a:pt x="194" y="272"/>
                    <a:pt x="194" y="272"/>
                    <a:pt x="194" y="272"/>
                  </a:cubicBezTo>
                  <a:cubicBezTo>
                    <a:pt x="195" y="275"/>
                    <a:pt x="195" y="275"/>
                    <a:pt x="195" y="275"/>
                  </a:cubicBezTo>
                  <a:cubicBezTo>
                    <a:pt x="195" y="277"/>
                    <a:pt x="195" y="277"/>
                    <a:pt x="195" y="277"/>
                  </a:cubicBezTo>
                  <a:cubicBezTo>
                    <a:pt x="196" y="279"/>
                    <a:pt x="196" y="279"/>
                    <a:pt x="196" y="279"/>
                  </a:cubicBezTo>
                  <a:cubicBezTo>
                    <a:pt x="195" y="281"/>
                    <a:pt x="195" y="281"/>
                    <a:pt x="195" y="281"/>
                  </a:cubicBezTo>
                  <a:cubicBezTo>
                    <a:pt x="191" y="292"/>
                    <a:pt x="191" y="292"/>
                    <a:pt x="191" y="292"/>
                  </a:cubicBezTo>
                  <a:cubicBezTo>
                    <a:pt x="225" y="292"/>
                    <a:pt x="225" y="292"/>
                    <a:pt x="225" y="292"/>
                  </a:cubicBezTo>
                  <a:cubicBezTo>
                    <a:pt x="208" y="233"/>
                    <a:pt x="208" y="233"/>
                    <a:pt x="208" y="233"/>
                  </a:cubicBezTo>
                  <a:lnTo>
                    <a:pt x="188" y="26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algn="ctr" defTabSz="914225"/>
              <a:endParaRPr lang="en-US">
                <a:solidFill>
                  <a:srgbClr val="505050"/>
                </a:solidFill>
              </a:endParaRPr>
            </a:p>
          </p:txBody>
        </p:sp>
      </p:grpSp>
      <p:grpSp>
        <p:nvGrpSpPr>
          <p:cNvPr id="40" name="Group 39"/>
          <p:cNvGrpSpPr/>
          <p:nvPr/>
        </p:nvGrpSpPr>
        <p:grpSpPr>
          <a:xfrm>
            <a:off x="3280900" y="3226788"/>
            <a:ext cx="5508645" cy="845808"/>
            <a:chOff x="3533313" y="3141063"/>
            <a:chExt cx="5508645" cy="845808"/>
          </a:xfrm>
          <a:solidFill>
            <a:srgbClr val="EDC30D"/>
          </a:solidFill>
        </p:grpSpPr>
        <p:sp>
          <p:nvSpPr>
            <p:cNvPr id="41" name="Title 1"/>
            <p:cNvSpPr txBox="1">
              <a:spLocks/>
            </p:cNvSpPr>
            <p:nvPr/>
          </p:nvSpPr>
          <p:spPr>
            <a:xfrm>
              <a:off x="3533313" y="3141063"/>
              <a:ext cx="2444985" cy="845808"/>
            </a:xfrm>
            <a:prstGeom prst="rect">
              <a:avLst/>
            </a:prstGeom>
            <a:grpFill/>
          </p:spPr>
          <p:txBody>
            <a:bodyPr vert="horz" wrap="square" lIns="143407" tIns="89630" rIns="143407" bIns="89630" rtlCol="0" anchor="t">
              <a:spAutoFit/>
            </a:bodyPr>
            <a:lstStyle>
              <a:lvl1pPr algn="l" defTabSz="932742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lang="en-US" sz="5400" b="0" kern="1200" cap="none" spc="-102" baseline="0" dirty="0" smtClean="0">
                  <a:ln w="3175">
                    <a:noFill/>
                  </a:ln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effectLst/>
                  <a:latin typeface="+mj-lt"/>
                  <a:ea typeface="+mn-ea"/>
                  <a:cs typeface="Segoe UI" pitchFamily="34" charset="0"/>
                </a:defRPr>
              </a:lvl1pPr>
            </a:lstStyle>
            <a:p>
              <a:pPr defTabSz="914367">
                <a:spcBef>
                  <a:spcPct val="20000"/>
                </a:spcBef>
                <a:buSzPct val="90000"/>
              </a:pPr>
              <a:r>
                <a:rPr sz="2400" dirty="0">
                  <a:solidFill>
                    <a:schemeClr val="tx1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2</a:t>
              </a:r>
              <a:r>
                <a:rPr sz="2400" baseline="30000" dirty="0">
                  <a:solidFill>
                    <a:schemeClr val="tx1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nd</a:t>
              </a:r>
              <a:r>
                <a:rPr sz="2400" dirty="0">
                  <a:solidFill>
                    <a:schemeClr val="tx1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 wave</a:t>
              </a:r>
              <a:br>
                <a:rPr sz="2400" dirty="0">
                  <a:solidFill>
                    <a:schemeClr val="tx1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</a:br>
              <a:r>
                <a:rPr lang="en-US" sz="2400" spc="0" dirty="0">
                  <a:solidFill>
                    <a:schemeClr val="tx1"/>
                  </a:solidFill>
                  <a:latin typeface="+mn-lt"/>
                  <a:cs typeface="+mn-cs"/>
                </a:rPr>
                <a:t>Self-service BI</a:t>
              </a:r>
            </a:p>
          </p:txBody>
        </p:sp>
        <p:cxnSp>
          <p:nvCxnSpPr>
            <p:cNvPr id="42" name="Straight Connector 41"/>
            <p:cNvCxnSpPr/>
            <p:nvPr/>
          </p:nvCxnSpPr>
          <p:spPr>
            <a:xfrm>
              <a:off x="3533314" y="3896341"/>
              <a:ext cx="5508644" cy="58485"/>
            </a:xfrm>
            <a:prstGeom prst="line">
              <a:avLst/>
            </a:prstGeom>
            <a:grpFill/>
            <a:ln w="3175">
              <a:solidFill>
                <a:srgbClr val="EDC30D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3" name="Group 42"/>
          <p:cNvGrpSpPr/>
          <p:nvPr/>
        </p:nvGrpSpPr>
        <p:grpSpPr>
          <a:xfrm>
            <a:off x="1521297" y="5081481"/>
            <a:ext cx="7268248" cy="845808"/>
            <a:chOff x="2026122" y="4995756"/>
            <a:chExt cx="7268248" cy="845808"/>
          </a:xfrm>
        </p:grpSpPr>
        <p:sp>
          <p:nvSpPr>
            <p:cNvPr id="44" name="Title 1"/>
            <p:cNvSpPr txBox="1">
              <a:spLocks/>
            </p:cNvSpPr>
            <p:nvPr/>
          </p:nvSpPr>
          <p:spPr>
            <a:xfrm>
              <a:off x="2026122" y="4995756"/>
              <a:ext cx="2081873" cy="845808"/>
            </a:xfrm>
            <a:prstGeom prst="rect">
              <a:avLst/>
            </a:prstGeom>
            <a:solidFill>
              <a:srgbClr val="EDC30D"/>
            </a:solidFill>
          </p:spPr>
          <p:txBody>
            <a:bodyPr vert="horz" wrap="square" lIns="143407" tIns="89630" rIns="143407" bIns="89630" rtlCol="0" anchor="t">
              <a:spAutoFit/>
            </a:bodyPr>
            <a:lstStyle>
              <a:lvl1pPr algn="l" defTabSz="932742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lang="en-US" sz="5400" b="0" kern="1200" cap="none" spc="-102" baseline="0" dirty="0" smtClean="0">
                  <a:ln w="3175">
                    <a:noFill/>
                  </a:ln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effectLst/>
                  <a:latin typeface="+mj-lt"/>
                  <a:ea typeface="+mn-ea"/>
                  <a:cs typeface="Segoe UI" pitchFamily="34" charset="0"/>
                </a:defRPr>
              </a:lvl1pPr>
            </a:lstStyle>
            <a:p>
              <a:pPr defTabSz="914367">
                <a:spcBef>
                  <a:spcPct val="20000"/>
                </a:spcBef>
                <a:buSzPct val="90000"/>
              </a:pPr>
              <a:r>
                <a:rPr lang="en-US" sz="2400" dirty="0" smtClean="0">
                  <a:solidFill>
                    <a:schemeClr val="tx1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1st wave</a:t>
              </a:r>
              <a:r>
                <a:rPr sz="2400" dirty="0">
                  <a:solidFill>
                    <a:schemeClr val="tx1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/>
              </a:r>
              <a:br>
                <a:rPr sz="2400" dirty="0">
                  <a:solidFill>
                    <a:schemeClr val="tx1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</a:br>
              <a:r>
                <a:rPr lang="en-US" sz="2400" spc="0" dirty="0">
                  <a:solidFill>
                    <a:schemeClr val="tx1"/>
                  </a:solidFill>
                  <a:latin typeface="+mn-lt"/>
                  <a:cs typeface="+mn-cs"/>
                </a:rPr>
                <a:t>Technical BI</a:t>
              </a:r>
            </a:p>
          </p:txBody>
        </p:sp>
        <p:cxnSp>
          <p:nvCxnSpPr>
            <p:cNvPr id="45" name="Straight Connector 44"/>
            <p:cNvCxnSpPr/>
            <p:nvPr/>
          </p:nvCxnSpPr>
          <p:spPr>
            <a:xfrm>
              <a:off x="2026123" y="5743590"/>
              <a:ext cx="7268247" cy="97974"/>
            </a:xfrm>
            <a:prstGeom prst="line">
              <a:avLst/>
            </a:prstGeom>
            <a:ln w="3175">
              <a:solidFill>
                <a:srgbClr val="EDC30D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6" name="Group 45"/>
          <p:cNvGrpSpPr/>
          <p:nvPr/>
        </p:nvGrpSpPr>
        <p:grpSpPr>
          <a:xfrm>
            <a:off x="5040505" y="1372095"/>
            <a:ext cx="3749040" cy="845808"/>
            <a:chOff x="5040505" y="1286370"/>
            <a:chExt cx="3749040" cy="845808"/>
          </a:xfrm>
          <a:solidFill>
            <a:srgbClr val="EDC30D"/>
          </a:solidFill>
        </p:grpSpPr>
        <p:sp>
          <p:nvSpPr>
            <p:cNvPr id="47" name="Title 1"/>
            <p:cNvSpPr txBox="1">
              <a:spLocks/>
            </p:cNvSpPr>
            <p:nvPr/>
          </p:nvSpPr>
          <p:spPr>
            <a:xfrm>
              <a:off x="5040505" y="1286370"/>
              <a:ext cx="1920240" cy="845808"/>
            </a:xfrm>
            <a:prstGeom prst="rect">
              <a:avLst/>
            </a:prstGeom>
            <a:grpFill/>
          </p:spPr>
          <p:txBody>
            <a:bodyPr vert="horz" wrap="square" lIns="143407" tIns="89630" rIns="143407" bIns="89630" rtlCol="0" anchor="t">
              <a:spAutoFit/>
            </a:bodyPr>
            <a:lstStyle>
              <a:lvl1pPr algn="l" defTabSz="932742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lang="en-US" sz="5400" b="0" kern="1200" cap="none" spc="-102" baseline="0" dirty="0" smtClean="0">
                  <a:ln w="3175">
                    <a:noFill/>
                  </a:ln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effectLst/>
                  <a:latin typeface="+mj-lt"/>
                  <a:ea typeface="+mn-ea"/>
                  <a:cs typeface="Segoe UI" pitchFamily="34" charset="0"/>
                </a:defRPr>
              </a:lvl1pPr>
            </a:lstStyle>
            <a:p>
              <a:pPr defTabSz="914367">
                <a:spcBef>
                  <a:spcPct val="20000"/>
                </a:spcBef>
                <a:buSzPct val="90000"/>
              </a:pPr>
              <a:r>
                <a:rPr lang="en-US" sz="2400" dirty="0" smtClean="0">
                  <a:solidFill>
                    <a:schemeClr val="tx1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3rd wave</a:t>
              </a:r>
              <a:r>
                <a:rPr sz="2400" dirty="0">
                  <a:solidFill>
                    <a:schemeClr val="tx1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/>
              </a:r>
              <a:br>
                <a:rPr sz="2400" dirty="0">
                  <a:solidFill>
                    <a:schemeClr val="tx1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</a:br>
              <a:r>
                <a:rPr lang="en-US" sz="2400" spc="0" dirty="0" smtClean="0">
                  <a:solidFill>
                    <a:schemeClr val="tx1"/>
                  </a:solidFill>
                  <a:latin typeface="+mn-lt"/>
                  <a:cs typeface="+mn-cs"/>
                </a:rPr>
                <a:t>End user BI</a:t>
              </a:r>
              <a:endParaRPr lang="en-US" sz="2400" spc="0" dirty="0">
                <a:solidFill>
                  <a:schemeClr val="tx1"/>
                </a:solidFill>
                <a:latin typeface="+mn-lt"/>
                <a:cs typeface="+mn-cs"/>
              </a:endParaRPr>
            </a:p>
          </p:txBody>
        </p:sp>
        <p:cxnSp>
          <p:nvCxnSpPr>
            <p:cNvPr id="48" name="Straight Connector 47"/>
            <p:cNvCxnSpPr/>
            <p:nvPr/>
          </p:nvCxnSpPr>
          <p:spPr>
            <a:xfrm>
              <a:off x="5040505" y="2046733"/>
              <a:ext cx="3749040" cy="0"/>
            </a:xfrm>
            <a:prstGeom prst="line">
              <a:avLst/>
            </a:prstGeom>
            <a:grpFill/>
            <a:ln w="3175">
              <a:solidFill>
                <a:srgbClr val="EDC30D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640907" y="6233989"/>
            <a:ext cx="1314450" cy="4476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04255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0EF975FC-BF4F-4228-B0B0-1DEFEE3DA567}"/>
              </a:ext>
            </a:extLst>
          </p:cNvPr>
          <p:cNvCxnSpPr/>
          <p:nvPr/>
        </p:nvCxnSpPr>
        <p:spPr>
          <a:xfrm>
            <a:off x="8282875" y="4353699"/>
            <a:ext cx="1966913" cy="0"/>
          </a:xfrm>
          <a:prstGeom prst="line">
            <a:avLst/>
          </a:prstGeom>
          <a:ln w="28575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42D7E882-A191-4154-B782-B7EF0F64AF87}"/>
              </a:ext>
            </a:extLst>
          </p:cNvPr>
          <p:cNvCxnSpPr/>
          <p:nvPr/>
        </p:nvCxnSpPr>
        <p:spPr>
          <a:xfrm>
            <a:off x="1902353" y="4353699"/>
            <a:ext cx="1966913" cy="0"/>
          </a:xfrm>
          <a:prstGeom prst="line">
            <a:avLst/>
          </a:prstGeom>
          <a:ln w="28575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1" name="Group 10">
            <a:extLst>
              <a:ext uri="{FF2B5EF4-FFF2-40B4-BE49-F238E27FC236}">
                <a16:creationId xmlns:a16="http://schemas.microsoft.com/office/drawing/2014/main" id="{FCDD5385-FE02-4616-BB66-C6716C955857}"/>
              </a:ext>
            </a:extLst>
          </p:cNvPr>
          <p:cNvGrpSpPr/>
          <p:nvPr/>
        </p:nvGrpSpPr>
        <p:grpSpPr>
          <a:xfrm>
            <a:off x="1691259" y="4248152"/>
            <a:ext cx="211094" cy="211094"/>
            <a:chOff x="1677812" y="4248152"/>
            <a:chExt cx="211094" cy="211094"/>
          </a:xfrm>
        </p:grpSpPr>
        <p:sp>
          <p:nvSpPr>
            <p:cNvPr id="6" name="Oval 5">
              <a:extLst>
                <a:ext uri="{FF2B5EF4-FFF2-40B4-BE49-F238E27FC236}">
                  <a16:creationId xmlns:a16="http://schemas.microsoft.com/office/drawing/2014/main" id="{BFC788B2-D4C9-483E-B84B-E4B3E4F7FE53}"/>
                </a:ext>
              </a:extLst>
            </p:cNvPr>
            <p:cNvSpPr/>
            <p:nvPr/>
          </p:nvSpPr>
          <p:spPr>
            <a:xfrm>
              <a:off x="1677812" y="4248152"/>
              <a:ext cx="211094" cy="21109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03C504C9-94E1-4D61-887D-B439F903EBB8}"/>
                </a:ext>
              </a:extLst>
            </p:cNvPr>
            <p:cNvSpPr/>
            <p:nvPr/>
          </p:nvSpPr>
          <p:spPr>
            <a:xfrm>
              <a:off x="1708100" y="4278440"/>
              <a:ext cx="150518" cy="150518"/>
            </a:xfrm>
            <a:prstGeom prst="ellipse">
              <a:avLst/>
            </a:prstGeom>
            <a:solidFill>
              <a:srgbClr val="FF605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A09BBDF9-D0D4-4DA3-A26B-FE43E4F32104}"/>
              </a:ext>
            </a:extLst>
          </p:cNvPr>
          <p:cNvCxnSpPr/>
          <p:nvPr/>
        </p:nvCxnSpPr>
        <p:spPr>
          <a:xfrm>
            <a:off x="4050072" y="4353699"/>
            <a:ext cx="1966913" cy="0"/>
          </a:xfrm>
          <a:prstGeom prst="line">
            <a:avLst/>
          </a:prstGeom>
          <a:ln w="28575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3" name="Group 12">
            <a:extLst>
              <a:ext uri="{FF2B5EF4-FFF2-40B4-BE49-F238E27FC236}">
                <a16:creationId xmlns:a16="http://schemas.microsoft.com/office/drawing/2014/main" id="{AFA0BC80-77DE-458B-9ECC-B8FE42384FD4}"/>
              </a:ext>
            </a:extLst>
          </p:cNvPr>
          <p:cNvGrpSpPr/>
          <p:nvPr/>
        </p:nvGrpSpPr>
        <p:grpSpPr>
          <a:xfrm>
            <a:off x="3869266" y="4248152"/>
            <a:ext cx="211094" cy="211094"/>
            <a:chOff x="3855819" y="4248152"/>
            <a:chExt cx="211094" cy="211094"/>
          </a:xfrm>
        </p:grpSpPr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7FC05F39-85C8-4314-A202-8D7B560FED7E}"/>
                </a:ext>
              </a:extLst>
            </p:cNvPr>
            <p:cNvSpPr/>
            <p:nvPr/>
          </p:nvSpPr>
          <p:spPr>
            <a:xfrm>
              <a:off x="3855819" y="4248152"/>
              <a:ext cx="211094" cy="21109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55A9BA2A-67A9-4F64-B916-9491798156A7}"/>
                </a:ext>
              </a:extLst>
            </p:cNvPr>
            <p:cNvSpPr/>
            <p:nvPr/>
          </p:nvSpPr>
          <p:spPr>
            <a:xfrm>
              <a:off x="3886107" y="4278440"/>
              <a:ext cx="150518" cy="150518"/>
            </a:xfrm>
            <a:prstGeom prst="ellipse">
              <a:avLst/>
            </a:prstGeom>
            <a:solidFill>
              <a:srgbClr val="6CA7C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213C6AFC-EC16-4CF7-B961-6DBC08032739}"/>
              </a:ext>
            </a:extLst>
          </p:cNvPr>
          <p:cNvCxnSpPr/>
          <p:nvPr/>
        </p:nvCxnSpPr>
        <p:spPr>
          <a:xfrm>
            <a:off x="6167503" y="4353699"/>
            <a:ext cx="1966913" cy="0"/>
          </a:xfrm>
          <a:prstGeom prst="line">
            <a:avLst/>
          </a:prstGeom>
          <a:ln w="28575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4" name="Group 23">
            <a:extLst>
              <a:ext uri="{FF2B5EF4-FFF2-40B4-BE49-F238E27FC236}">
                <a16:creationId xmlns:a16="http://schemas.microsoft.com/office/drawing/2014/main" id="{9243F1F4-6EBE-4DC3-AA58-4D1958CD8E1D}"/>
              </a:ext>
            </a:extLst>
          </p:cNvPr>
          <p:cNvGrpSpPr/>
          <p:nvPr/>
        </p:nvGrpSpPr>
        <p:grpSpPr>
          <a:xfrm>
            <a:off x="5986697" y="4248152"/>
            <a:ext cx="211094" cy="211094"/>
            <a:chOff x="5973250" y="4248152"/>
            <a:chExt cx="211094" cy="211094"/>
          </a:xfrm>
        </p:grpSpPr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A9CC3F83-2403-4F7D-8ED3-F6A0681A5803}"/>
                </a:ext>
              </a:extLst>
            </p:cNvPr>
            <p:cNvSpPr/>
            <p:nvPr/>
          </p:nvSpPr>
          <p:spPr>
            <a:xfrm>
              <a:off x="5973250" y="4248152"/>
              <a:ext cx="211094" cy="21109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3" name="Oval 22">
              <a:extLst>
                <a:ext uri="{FF2B5EF4-FFF2-40B4-BE49-F238E27FC236}">
                  <a16:creationId xmlns:a16="http://schemas.microsoft.com/office/drawing/2014/main" id="{1D80A4CE-7046-423D-B2BA-9FDB76FE5A36}"/>
                </a:ext>
              </a:extLst>
            </p:cNvPr>
            <p:cNvSpPr/>
            <p:nvPr/>
          </p:nvSpPr>
          <p:spPr>
            <a:xfrm>
              <a:off x="6003538" y="4278440"/>
              <a:ext cx="150518" cy="150518"/>
            </a:xfrm>
            <a:prstGeom prst="ellipse">
              <a:avLst/>
            </a:prstGeom>
            <a:solidFill>
              <a:srgbClr val="FDBA7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B89177D2-AE0E-49A7-8D2A-CBA97127106C}"/>
              </a:ext>
            </a:extLst>
          </p:cNvPr>
          <p:cNvGrpSpPr/>
          <p:nvPr/>
        </p:nvGrpSpPr>
        <p:grpSpPr>
          <a:xfrm>
            <a:off x="8131704" y="4248152"/>
            <a:ext cx="211094" cy="211094"/>
            <a:chOff x="8118257" y="4248152"/>
            <a:chExt cx="211094" cy="211094"/>
          </a:xfrm>
        </p:grpSpPr>
        <p:sp>
          <p:nvSpPr>
            <p:cNvPr id="27" name="Oval 26">
              <a:extLst>
                <a:ext uri="{FF2B5EF4-FFF2-40B4-BE49-F238E27FC236}">
                  <a16:creationId xmlns:a16="http://schemas.microsoft.com/office/drawing/2014/main" id="{99B0CE1E-4E36-4450-AA90-00F9D8FD7840}"/>
                </a:ext>
              </a:extLst>
            </p:cNvPr>
            <p:cNvSpPr/>
            <p:nvPr/>
          </p:nvSpPr>
          <p:spPr>
            <a:xfrm>
              <a:off x="8118257" y="4248152"/>
              <a:ext cx="211094" cy="21109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8" name="Oval 27">
              <a:extLst>
                <a:ext uri="{FF2B5EF4-FFF2-40B4-BE49-F238E27FC236}">
                  <a16:creationId xmlns:a16="http://schemas.microsoft.com/office/drawing/2014/main" id="{5620D1EF-0625-4250-876A-8C72F262238A}"/>
                </a:ext>
              </a:extLst>
            </p:cNvPr>
            <p:cNvSpPr/>
            <p:nvPr/>
          </p:nvSpPr>
          <p:spPr>
            <a:xfrm>
              <a:off x="8148545" y="4278440"/>
              <a:ext cx="150518" cy="150518"/>
            </a:xfrm>
            <a:prstGeom prst="ellipse">
              <a:avLst/>
            </a:prstGeom>
            <a:solidFill>
              <a:srgbClr val="7C9A6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28719237-0A17-4D6B-B2A0-3C8D9ED3BF42}"/>
              </a:ext>
            </a:extLst>
          </p:cNvPr>
          <p:cNvGrpSpPr/>
          <p:nvPr/>
        </p:nvGrpSpPr>
        <p:grpSpPr>
          <a:xfrm>
            <a:off x="10247076" y="4248152"/>
            <a:ext cx="211094" cy="211094"/>
            <a:chOff x="10233629" y="4248152"/>
            <a:chExt cx="211094" cy="211094"/>
          </a:xfrm>
        </p:grpSpPr>
        <p:sp>
          <p:nvSpPr>
            <p:cNvPr id="50" name="Oval 49">
              <a:extLst>
                <a:ext uri="{FF2B5EF4-FFF2-40B4-BE49-F238E27FC236}">
                  <a16:creationId xmlns:a16="http://schemas.microsoft.com/office/drawing/2014/main" id="{6419626C-374F-47EF-8717-82FA45B93031}"/>
                </a:ext>
              </a:extLst>
            </p:cNvPr>
            <p:cNvSpPr/>
            <p:nvPr/>
          </p:nvSpPr>
          <p:spPr>
            <a:xfrm>
              <a:off x="10233629" y="4248152"/>
              <a:ext cx="211094" cy="21109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1" name="Oval 50">
              <a:extLst>
                <a:ext uri="{FF2B5EF4-FFF2-40B4-BE49-F238E27FC236}">
                  <a16:creationId xmlns:a16="http://schemas.microsoft.com/office/drawing/2014/main" id="{0054DAE1-7306-4B2A-A4CA-71452C011939}"/>
                </a:ext>
              </a:extLst>
            </p:cNvPr>
            <p:cNvSpPr/>
            <p:nvPr/>
          </p:nvSpPr>
          <p:spPr>
            <a:xfrm>
              <a:off x="10263917" y="4278440"/>
              <a:ext cx="150518" cy="150518"/>
            </a:xfrm>
            <a:prstGeom prst="ellipse">
              <a:avLst/>
            </a:prstGeom>
            <a:solidFill>
              <a:srgbClr val="FF605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54" name="TextBox 53">
            <a:extLst>
              <a:ext uri="{FF2B5EF4-FFF2-40B4-BE49-F238E27FC236}">
                <a16:creationId xmlns:a16="http://schemas.microsoft.com/office/drawing/2014/main" id="{3D85BFEF-CB97-49C3-9C81-18C3527FA085}"/>
              </a:ext>
            </a:extLst>
          </p:cNvPr>
          <p:cNvSpPr txBox="1"/>
          <p:nvPr/>
        </p:nvSpPr>
        <p:spPr>
          <a:xfrm>
            <a:off x="2423885" y="176472"/>
            <a:ext cx="734422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8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Tw Cen MT" panose="020B0602020104020603" pitchFamily="34" charset="0"/>
              </a:rPr>
              <a:t>POWERBI PROGRESS</a:t>
            </a:r>
            <a:endParaRPr lang="en-US" sz="4800" b="1" dirty="0">
              <a:solidFill>
                <a:schemeClr val="tx1">
                  <a:lumMod val="75000"/>
                  <a:lumOff val="25000"/>
                </a:schemeClr>
              </a:solidFill>
              <a:latin typeface="Tw Cen MT" panose="020B0602020104020603" pitchFamily="34" charset="0"/>
            </a:endParaRP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BA4AE8D1-23F3-44BD-9D9E-9538319D1AC8}"/>
              </a:ext>
            </a:extLst>
          </p:cNvPr>
          <p:cNvSpPr txBox="1"/>
          <p:nvPr/>
        </p:nvSpPr>
        <p:spPr>
          <a:xfrm>
            <a:off x="2185096" y="908296"/>
            <a:ext cx="782180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Tw Cen MT" panose="020B0602020104020603" pitchFamily="34" charset="0"/>
              </a:rPr>
              <a:t>HOW THIS ALL STARTED</a:t>
            </a:r>
            <a:endParaRPr lang="en-US" sz="3200" dirty="0">
              <a:solidFill>
                <a:schemeClr val="tx1">
                  <a:lumMod val="75000"/>
                  <a:lumOff val="25000"/>
                </a:schemeClr>
              </a:solidFill>
              <a:latin typeface="Tw Cen MT" panose="020B0602020104020603" pitchFamily="34" charset="0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0B9A8BC6-4912-4C64-8428-F48E86C6D9D8}"/>
              </a:ext>
            </a:extLst>
          </p:cNvPr>
          <p:cNvGrpSpPr/>
          <p:nvPr/>
        </p:nvGrpSpPr>
        <p:grpSpPr>
          <a:xfrm>
            <a:off x="646873" y="4872602"/>
            <a:ext cx="2289049" cy="548656"/>
            <a:chOff x="1514240" y="4816886"/>
            <a:chExt cx="2289049" cy="548656"/>
          </a:xfrm>
        </p:grpSpPr>
        <p:sp>
          <p:nvSpPr>
            <p:cNvPr id="57" name="TextBox 56">
              <a:extLst>
                <a:ext uri="{FF2B5EF4-FFF2-40B4-BE49-F238E27FC236}">
                  <a16:creationId xmlns:a16="http://schemas.microsoft.com/office/drawing/2014/main" id="{F6CFD527-8E24-48A6-AA80-4F6D97B59AEB}"/>
                </a:ext>
              </a:extLst>
            </p:cNvPr>
            <p:cNvSpPr txBox="1"/>
            <p:nvPr/>
          </p:nvSpPr>
          <p:spPr>
            <a:xfrm>
              <a:off x="1514240" y="4816886"/>
              <a:ext cx="2289049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Tw Cen MT" panose="020B0602020104020603" pitchFamily="34" charset="0"/>
                </a:rPr>
                <a:t>Invention</a:t>
              </a:r>
              <a:endParaRPr lang="en-US" b="1" dirty="0">
                <a:solidFill>
                  <a:schemeClr val="tx1">
                    <a:lumMod val="75000"/>
                    <a:lumOff val="25000"/>
                  </a:schemeClr>
                </a:solidFill>
                <a:latin typeface="Tw Cen MT" panose="020B0602020104020603" pitchFamily="34" charset="0"/>
              </a:endParaRPr>
            </a:p>
          </p:txBody>
        </p:sp>
        <p:sp>
          <p:nvSpPr>
            <p:cNvPr id="58" name="TextBox 57">
              <a:extLst>
                <a:ext uri="{FF2B5EF4-FFF2-40B4-BE49-F238E27FC236}">
                  <a16:creationId xmlns:a16="http://schemas.microsoft.com/office/drawing/2014/main" id="{7EADB6A3-9227-437A-882E-E14C7EA2FDD0}"/>
                </a:ext>
              </a:extLst>
            </p:cNvPr>
            <p:cNvSpPr txBox="1"/>
            <p:nvPr/>
          </p:nvSpPr>
          <p:spPr>
            <a:xfrm>
              <a:off x="1733898" y="5088543"/>
              <a:ext cx="1849733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 err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Tw Cen MT" panose="020B0602020104020603" pitchFamily="34" charset="0"/>
                </a:rPr>
                <a:t>PowerBI</a:t>
              </a:r>
              <a:r>
                <a:rPr lang="en-US" sz="1200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Tw Cen MT" panose="020B0602020104020603" pitchFamily="34" charset="0"/>
                </a:rPr>
                <a:t> service started</a:t>
              </a:r>
              <a:endParaRPr 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Tw Cen MT" panose="020B0602020104020603" pitchFamily="34" charset="0"/>
              </a:endParaRPr>
            </a:p>
          </p:txBody>
        </p:sp>
      </p:grpSp>
      <p:sp>
        <p:nvSpPr>
          <p:cNvPr id="59" name="TextBox 58">
            <a:extLst>
              <a:ext uri="{FF2B5EF4-FFF2-40B4-BE49-F238E27FC236}">
                <a16:creationId xmlns:a16="http://schemas.microsoft.com/office/drawing/2014/main" id="{80E36C5F-62F8-4BFF-B2B0-1EFBEC3A6CEF}"/>
              </a:ext>
            </a:extLst>
          </p:cNvPr>
          <p:cNvSpPr txBox="1"/>
          <p:nvPr/>
        </p:nvSpPr>
        <p:spPr>
          <a:xfrm>
            <a:off x="646873" y="4439601"/>
            <a:ext cx="228904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b="1" dirty="0">
                <a:solidFill>
                  <a:srgbClr val="FF6056"/>
                </a:solidFill>
                <a:latin typeface="Tw Cen MT" panose="020B0602020104020603" pitchFamily="34" charset="0"/>
              </a:rPr>
              <a:t>2014</a:t>
            </a:r>
          </a:p>
        </p:txBody>
      </p:sp>
      <p:grpSp>
        <p:nvGrpSpPr>
          <p:cNvPr id="116" name="Group 115">
            <a:extLst>
              <a:ext uri="{FF2B5EF4-FFF2-40B4-BE49-F238E27FC236}">
                <a16:creationId xmlns:a16="http://schemas.microsoft.com/office/drawing/2014/main" id="{40FDA880-3CE5-4216-9AD0-E3B2433D4283}"/>
              </a:ext>
            </a:extLst>
          </p:cNvPr>
          <p:cNvGrpSpPr/>
          <p:nvPr/>
        </p:nvGrpSpPr>
        <p:grpSpPr>
          <a:xfrm>
            <a:off x="2835783" y="4872602"/>
            <a:ext cx="2289049" cy="733322"/>
            <a:chOff x="1514240" y="4816886"/>
            <a:chExt cx="2289049" cy="733322"/>
          </a:xfrm>
        </p:grpSpPr>
        <p:sp>
          <p:nvSpPr>
            <p:cNvPr id="117" name="TextBox 116">
              <a:extLst>
                <a:ext uri="{FF2B5EF4-FFF2-40B4-BE49-F238E27FC236}">
                  <a16:creationId xmlns:a16="http://schemas.microsoft.com/office/drawing/2014/main" id="{EBCDC1B9-052C-4632-93C4-363E17E42BB3}"/>
                </a:ext>
              </a:extLst>
            </p:cNvPr>
            <p:cNvSpPr txBox="1"/>
            <p:nvPr/>
          </p:nvSpPr>
          <p:spPr>
            <a:xfrm>
              <a:off x="1514240" y="4816886"/>
              <a:ext cx="2289049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Tw Cen MT" panose="020B0602020104020603" pitchFamily="34" charset="0"/>
                </a:rPr>
                <a:t>Speculation</a:t>
              </a:r>
              <a:endParaRPr lang="en-US" b="1" dirty="0">
                <a:solidFill>
                  <a:schemeClr val="tx1">
                    <a:lumMod val="75000"/>
                    <a:lumOff val="25000"/>
                  </a:schemeClr>
                </a:solidFill>
                <a:latin typeface="Tw Cen MT" panose="020B0602020104020603" pitchFamily="34" charset="0"/>
              </a:endParaRPr>
            </a:p>
          </p:txBody>
        </p:sp>
        <p:sp>
          <p:nvSpPr>
            <p:cNvPr id="118" name="TextBox 117">
              <a:extLst>
                <a:ext uri="{FF2B5EF4-FFF2-40B4-BE49-F238E27FC236}">
                  <a16:creationId xmlns:a16="http://schemas.microsoft.com/office/drawing/2014/main" id="{099EA510-A7AF-45EE-977B-2587C8A66E5F}"/>
                </a:ext>
              </a:extLst>
            </p:cNvPr>
            <p:cNvSpPr txBox="1"/>
            <p:nvPr/>
          </p:nvSpPr>
          <p:spPr>
            <a:xfrm>
              <a:off x="1733898" y="5088543"/>
              <a:ext cx="1849733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 err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Tw Cen MT" panose="020B0602020104020603" pitchFamily="34" charset="0"/>
                </a:rPr>
                <a:t>PowerBI</a:t>
              </a:r>
              <a:r>
                <a:rPr lang="en-US" sz="1200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Tw Cen MT" panose="020B0602020104020603" pitchFamily="34" charset="0"/>
                </a:rPr>
                <a:t> under tremendous speculation by developers</a:t>
              </a:r>
              <a:endParaRPr 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Tw Cen MT" panose="020B0602020104020603" pitchFamily="34" charset="0"/>
              </a:endParaRPr>
            </a:p>
          </p:txBody>
        </p:sp>
      </p:grpSp>
      <p:sp>
        <p:nvSpPr>
          <p:cNvPr id="119" name="TextBox 118">
            <a:extLst>
              <a:ext uri="{FF2B5EF4-FFF2-40B4-BE49-F238E27FC236}">
                <a16:creationId xmlns:a16="http://schemas.microsoft.com/office/drawing/2014/main" id="{955EFA10-A1E0-4D49-89BC-85B23D4D4FBF}"/>
              </a:ext>
            </a:extLst>
          </p:cNvPr>
          <p:cNvSpPr txBox="1"/>
          <p:nvPr/>
        </p:nvSpPr>
        <p:spPr>
          <a:xfrm>
            <a:off x="2835783" y="4439601"/>
            <a:ext cx="228904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b="1" dirty="0">
                <a:solidFill>
                  <a:srgbClr val="6CA7CA"/>
                </a:solidFill>
                <a:latin typeface="Tw Cen MT" panose="020B0602020104020603" pitchFamily="34" charset="0"/>
              </a:rPr>
              <a:t>2015</a:t>
            </a:r>
          </a:p>
        </p:txBody>
      </p:sp>
      <p:grpSp>
        <p:nvGrpSpPr>
          <p:cNvPr id="120" name="Group 119">
            <a:extLst>
              <a:ext uri="{FF2B5EF4-FFF2-40B4-BE49-F238E27FC236}">
                <a16:creationId xmlns:a16="http://schemas.microsoft.com/office/drawing/2014/main" id="{D6E1DC2E-696C-485B-A40D-51EC5668F300}"/>
              </a:ext>
            </a:extLst>
          </p:cNvPr>
          <p:cNvGrpSpPr/>
          <p:nvPr/>
        </p:nvGrpSpPr>
        <p:grpSpPr>
          <a:xfrm>
            <a:off x="4964922" y="4872602"/>
            <a:ext cx="2289049" cy="733322"/>
            <a:chOff x="1514240" y="4816886"/>
            <a:chExt cx="2289049" cy="733322"/>
          </a:xfrm>
        </p:grpSpPr>
        <p:sp>
          <p:nvSpPr>
            <p:cNvPr id="121" name="TextBox 120">
              <a:extLst>
                <a:ext uri="{FF2B5EF4-FFF2-40B4-BE49-F238E27FC236}">
                  <a16:creationId xmlns:a16="http://schemas.microsoft.com/office/drawing/2014/main" id="{74CCA10B-4DCF-4D36-9411-6B4E39515AA4}"/>
                </a:ext>
              </a:extLst>
            </p:cNvPr>
            <p:cNvSpPr txBox="1"/>
            <p:nvPr/>
          </p:nvSpPr>
          <p:spPr>
            <a:xfrm>
              <a:off x="1514240" y="4816886"/>
              <a:ext cx="2289049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Tw Cen MT" panose="020B0602020104020603" pitchFamily="34" charset="0"/>
                </a:rPr>
                <a:t>DEATH FACE</a:t>
              </a:r>
              <a:endParaRPr lang="en-US" b="1" dirty="0">
                <a:solidFill>
                  <a:schemeClr val="tx1">
                    <a:lumMod val="75000"/>
                    <a:lumOff val="25000"/>
                  </a:schemeClr>
                </a:solidFill>
                <a:latin typeface="Tw Cen MT" panose="020B0602020104020603" pitchFamily="34" charset="0"/>
              </a:endParaRPr>
            </a:p>
          </p:txBody>
        </p:sp>
        <p:sp>
          <p:nvSpPr>
            <p:cNvPr id="122" name="TextBox 121">
              <a:extLst>
                <a:ext uri="{FF2B5EF4-FFF2-40B4-BE49-F238E27FC236}">
                  <a16:creationId xmlns:a16="http://schemas.microsoft.com/office/drawing/2014/main" id="{568E93B0-5882-4CEE-89D7-784474C46033}"/>
                </a:ext>
              </a:extLst>
            </p:cNvPr>
            <p:cNvSpPr txBox="1"/>
            <p:nvPr/>
          </p:nvSpPr>
          <p:spPr>
            <a:xfrm>
              <a:off x="1733898" y="5088543"/>
              <a:ext cx="1849733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Tw Cen MT" panose="020B0602020104020603" pitchFamily="34" charset="0"/>
                </a:rPr>
                <a:t>Tableau and </a:t>
              </a:r>
              <a:r>
                <a:rPr lang="en-US" sz="1200" dirty="0" err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Tw Cen MT" panose="020B0602020104020603" pitchFamily="34" charset="0"/>
                </a:rPr>
                <a:t>Qlik</a:t>
              </a:r>
              <a:r>
                <a:rPr lang="en-US" sz="1200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Tw Cen MT" panose="020B0602020104020603" pitchFamily="34" charset="0"/>
                </a:rPr>
                <a:t> took over </a:t>
              </a:r>
              <a:r>
                <a:rPr lang="en-US" sz="1200" dirty="0" err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Tw Cen MT" panose="020B0602020104020603" pitchFamily="34" charset="0"/>
                </a:rPr>
                <a:t>PowerBI</a:t>
              </a:r>
              <a:endParaRPr 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Tw Cen MT" panose="020B0602020104020603" pitchFamily="34" charset="0"/>
              </a:endParaRPr>
            </a:p>
          </p:txBody>
        </p:sp>
      </p:grpSp>
      <p:sp>
        <p:nvSpPr>
          <p:cNvPr id="123" name="TextBox 122">
            <a:extLst>
              <a:ext uri="{FF2B5EF4-FFF2-40B4-BE49-F238E27FC236}">
                <a16:creationId xmlns:a16="http://schemas.microsoft.com/office/drawing/2014/main" id="{9CB66F02-6EFD-4BC0-B7E0-C0F9C05A68A8}"/>
              </a:ext>
            </a:extLst>
          </p:cNvPr>
          <p:cNvSpPr txBox="1"/>
          <p:nvPr/>
        </p:nvSpPr>
        <p:spPr>
          <a:xfrm>
            <a:off x="4964922" y="4439601"/>
            <a:ext cx="228904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b="1" dirty="0">
                <a:solidFill>
                  <a:srgbClr val="FDBA71"/>
                </a:solidFill>
                <a:latin typeface="Tw Cen MT" panose="020B0602020104020603" pitchFamily="34" charset="0"/>
              </a:rPr>
              <a:t>2016</a:t>
            </a:r>
          </a:p>
        </p:txBody>
      </p:sp>
      <p:grpSp>
        <p:nvGrpSpPr>
          <p:cNvPr id="124" name="Group 123">
            <a:extLst>
              <a:ext uri="{FF2B5EF4-FFF2-40B4-BE49-F238E27FC236}">
                <a16:creationId xmlns:a16="http://schemas.microsoft.com/office/drawing/2014/main" id="{43AB57A2-1D9F-45ED-B795-3155880060DD}"/>
              </a:ext>
            </a:extLst>
          </p:cNvPr>
          <p:cNvGrpSpPr/>
          <p:nvPr/>
        </p:nvGrpSpPr>
        <p:grpSpPr>
          <a:xfrm>
            <a:off x="7091745" y="4872602"/>
            <a:ext cx="2289049" cy="733322"/>
            <a:chOff x="1514240" y="4816886"/>
            <a:chExt cx="2289049" cy="733322"/>
          </a:xfrm>
        </p:grpSpPr>
        <p:sp>
          <p:nvSpPr>
            <p:cNvPr id="125" name="TextBox 124">
              <a:extLst>
                <a:ext uri="{FF2B5EF4-FFF2-40B4-BE49-F238E27FC236}">
                  <a16:creationId xmlns:a16="http://schemas.microsoft.com/office/drawing/2014/main" id="{8D602925-8B18-4706-95B6-ACE212F27A38}"/>
                </a:ext>
              </a:extLst>
            </p:cNvPr>
            <p:cNvSpPr txBox="1"/>
            <p:nvPr/>
          </p:nvSpPr>
          <p:spPr>
            <a:xfrm>
              <a:off x="1514240" y="4816886"/>
              <a:ext cx="2289049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Tw Cen MT" panose="020B0602020104020603" pitchFamily="34" charset="0"/>
                </a:rPr>
                <a:t>WINNER</a:t>
              </a:r>
              <a:endParaRPr lang="en-US" b="1" dirty="0">
                <a:solidFill>
                  <a:schemeClr val="tx1">
                    <a:lumMod val="75000"/>
                    <a:lumOff val="25000"/>
                  </a:schemeClr>
                </a:solidFill>
                <a:latin typeface="Tw Cen MT" panose="020B0602020104020603" pitchFamily="34" charset="0"/>
              </a:endParaRPr>
            </a:p>
          </p:txBody>
        </p:sp>
        <p:sp>
          <p:nvSpPr>
            <p:cNvPr id="126" name="TextBox 125">
              <a:extLst>
                <a:ext uri="{FF2B5EF4-FFF2-40B4-BE49-F238E27FC236}">
                  <a16:creationId xmlns:a16="http://schemas.microsoft.com/office/drawing/2014/main" id="{44988285-E901-4CAD-AF2F-936F6A190F71}"/>
                </a:ext>
              </a:extLst>
            </p:cNvPr>
            <p:cNvSpPr txBox="1"/>
            <p:nvPr/>
          </p:nvSpPr>
          <p:spPr>
            <a:xfrm>
              <a:off x="1733898" y="5088543"/>
              <a:ext cx="1849733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Tw Cen MT" panose="020B0602020104020603" pitchFamily="34" charset="0"/>
                </a:rPr>
                <a:t>DEVELOPERS, MARKETERES WORKED HARD</a:t>
              </a:r>
              <a:endParaRPr 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Tw Cen MT" panose="020B0602020104020603" pitchFamily="34" charset="0"/>
              </a:endParaRPr>
            </a:p>
          </p:txBody>
        </p:sp>
      </p:grpSp>
      <p:sp>
        <p:nvSpPr>
          <p:cNvPr id="127" name="TextBox 126">
            <a:extLst>
              <a:ext uri="{FF2B5EF4-FFF2-40B4-BE49-F238E27FC236}">
                <a16:creationId xmlns:a16="http://schemas.microsoft.com/office/drawing/2014/main" id="{862C7EBD-C271-4476-931E-4D045A083C8F}"/>
              </a:ext>
            </a:extLst>
          </p:cNvPr>
          <p:cNvSpPr txBox="1"/>
          <p:nvPr/>
        </p:nvSpPr>
        <p:spPr>
          <a:xfrm>
            <a:off x="7091745" y="4439601"/>
            <a:ext cx="228904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b="1" dirty="0">
                <a:solidFill>
                  <a:srgbClr val="7C9A60"/>
                </a:solidFill>
                <a:latin typeface="Tw Cen MT" panose="020B0602020104020603" pitchFamily="34" charset="0"/>
              </a:rPr>
              <a:t>2017</a:t>
            </a:r>
          </a:p>
        </p:txBody>
      </p:sp>
      <p:grpSp>
        <p:nvGrpSpPr>
          <p:cNvPr id="128" name="Group 127">
            <a:extLst>
              <a:ext uri="{FF2B5EF4-FFF2-40B4-BE49-F238E27FC236}">
                <a16:creationId xmlns:a16="http://schemas.microsoft.com/office/drawing/2014/main" id="{19B0ED71-508A-47D7-85A3-E5122186E722}"/>
              </a:ext>
            </a:extLst>
          </p:cNvPr>
          <p:cNvGrpSpPr/>
          <p:nvPr/>
        </p:nvGrpSpPr>
        <p:grpSpPr>
          <a:xfrm>
            <a:off x="9220531" y="4872602"/>
            <a:ext cx="2289049" cy="733322"/>
            <a:chOff x="1514240" y="4816886"/>
            <a:chExt cx="2289049" cy="733322"/>
          </a:xfrm>
        </p:grpSpPr>
        <p:sp>
          <p:nvSpPr>
            <p:cNvPr id="129" name="TextBox 128">
              <a:extLst>
                <a:ext uri="{FF2B5EF4-FFF2-40B4-BE49-F238E27FC236}">
                  <a16:creationId xmlns:a16="http://schemas.microsoft.com/office/drawing/2014/main" id="{C3065082-4479-4E1C-9B49-FD5D0B73DF22}"/>
                </a:ext>
              </a:extLst>
            </p:cNvPr>
            <p:cNvSpPr txBox="1"/>
            <p:nvPr/>
          </p:nvSpPr>
          <p:spPr>
            <a:xfrm>
              <a:off x="1514240" y="4816886"/>
              <a:ext cx="2289049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Tw Cen MT" panose="020B0602020104020603" pitchFamily="34" charset="0"/>
                </a:rPr>
                <a:t>LEADING</a:t>
              </a:r>
              <a:endParaRPr lang="en-US" b="1" dirty="0">
                <a:solidFill>
                  <a:schemeClr val="tx1">
                    <a:lumMod val="75000"/>
                    <a:lumOff val="25000"/>
                  </a:schemeClr>
                </a:solidFill>
                <a:latin typeface="Tw Cen MT" panose="020B0602020104020603" pitchFamily="34" charset="0"/>
              </a:endParaRPr>
            </a:p>
          </p:txBody>
        </p:sp>
        <p:sp>
          <p:nvSpPr>
            <p:cNvPr id="130" name="TextBox 129">
              <a:extLst>
                <a:ext uri="{FF2B5EF4-FFF2-40B4-BE49-F238E27FC236}">
                  <a16:creationId xmlns:a16="http://schemas.microsoft.com/office/drawing/2014/main" id="{A9D8BE9C-63F7-4B62-87F8-365EF5787D7E}"/>
                </a:ext>
              </a:extLst>
            </p:cNvPr>
            <p:cNvSpPr txBox="1"/>
            <p:nvPr/>
          </p:nvSpPr>
          <p:spPr>
            <a:xfrm>
              <a:off x="1733898" y="5088543"/>
              <a:ext cx="1849733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Tw Cen MT" panose="020B0602020104020603" pitchFamily="34" charset="0"/>
                </a:rPr>
                <a:t>POWERBI IS THE SOLUTION</a:t>
              </a:r>
              <a:endParaRPr 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Tw Cen MT" panose="020B0602020104020603" pitchFamily="34" charset="0"/>
              </a:endParaRPr>
            </a:p>
          </p:txBody>
        </p:sp>
      </p:grpSp>
      <p:sp>
        <p:nvSpPr>
          <p:cNvPr id="131" name="TextBox 130">
            <a:extLst>
              <a:ext uri="{FF2B5EF4-FFF2-40B4-BE49-F238E27FC236}">
                <a16:creationId xmlns:a16="http://schemas.microsoft.com/office/drawing/2014/main" id="{DBF9EB3A-4AD3-4CAC-8D74-6AEA4B78D4E6}"/>
              </a:ext>
            </a:extLst>
          </p:cNvPr>
          <p:cNvSpPr txBox="1"/>
          <p:nvPr/>
        </p:nvSpPr>
        <p:spPr>
          <a:xfrm>
            <a:off x="9220531" y="4439601"/>
            <a:ext cx="228904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b="1" dirty="0">
                <a:solidFill>
                  <a:srgbClr val="FF6056"/>
                </a:solidFill>
                <a:latin typeface="Tw Cen MT" panose="020B0602020104020603" pitchFamily="34" charset="0"/>
              </a:rPr>
              <a:t>2018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0B9CAC3C-85C0-424D-88BA-C91646C45131}"/>
              </a:ext>
            </a:extLst>
          </p:cNvPr>
          <p:cNvGrpSpPr/>
          <p:nvPr/>
        </p:nvGrpSpPr>
        <p:grpSpPr>
          <a:xfrm>
            <a:off x="1153557" y="2486360"/>
            <a:ext cx="1275682" cy="1275682"/>
            <a:chOff x="1140110" y="2486360"/>
            <a:chExt cx="1275682" cy="1275682"/>
          </a:xfrm>
        </p:grpSpPr>
        <p:sp>
          <p:nvSpPr>
            <p:cNvPr id="15" name="Teardrop 14">
              <a:extLst>
                <a:ext uri="{FF2B5EF4-FFF2-40B4-BE49-F238E27FC236}">
                  <a16:creationId xmlns:a16="http://schemas.microsoft.com/office/drawing/2014/main" id="{8F41E237-DA71-4E2E-B9FB-5E6268A60209}"/>
                </a:ext>
              </a:extLst>
            </p:cNvPr>
            <p:cNvSpPr/>
            <p:nvPr/>
          </p:nvSpPr>
          <p:spPr>
            <a:xfrm rot="8100000">
              <a:off x="1140110" y="2486360"/>
              <a:ext cx="1275682" cy="1275682"/>
            </a:xfrm>
            <a:prstGeom prst="teardrop">
              <a:avLst>
                <a:gd name="adj" fmla="val 109962"/>
              </a:avLst>
            </a:prstGeom>
            <a:solidFill>
              <a:srgbClr val="FF605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F0E6492E-6F2E-42DA-8BF5-8E10ACC940B6}"/>
                </a:ext>
              </a:extLst>
            </p:cNvPr>
            <p:cNvSpPr/>
            <p:nvPr/>
          </p:nvSpPr>
          <p:spPr>
            <a:xfrm>
              <a:off x="1334459" y="2679358"/>
              <a:ext cx="889686" cy="889686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F8CFB61F-1DD6-4F6E-95FA-EDD1FEAA6DB0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470467" y="2811877"/>
              <a:ext cx="597818" cy="597816"/>
            </a:xfrm>
            <a:prstGeom prst="rect">
              <a:avLst/>
            </a:prstGeom>
          </p:spPr>
        </p:pic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2637DEDD-0D06-4F2B-BAA0-C6AF7877F2C0}"/>
              </a:ext>
            </a:extLst>
          </p:cNvPr>
          <p:cNvGrpSpPr/>
          <p:nvPr/>
        </p:nvGrpSpPr>
        <p:grpSpPr>
          <a:xfrm>
            <a:off x="3332877" y="2486360"/>
            <a:ext cx="1275682" cy="1275682"/>
            <a:chOff x="3319430" y="2486360"/>
            <a:chExt cx="1275682" cy="1275682"/>
          </a:xfrm>
        </p:grpSpPr>
        <p:sp>
          <p:nvSpPr>
            <p:cNvPr id="43" name="Teardrop 42">
              <a:extLst>
                <a:ext uri="{FF2B5EF4-FFF2-40B4-BE49-F238E27FC236}">
                  <a16:creationId xmlns:a16="http://schemas.microsoft.com/office/drawing/2014/main" id="{1CA5BC31-17A5-4233-9105-915DBBEE9B6B}"/>
                </a:ext>
              </a:extLst>
            </p:cNvPr>
            <p:cNvSpPr/>
            <p:nvPr/>
          </p:nvSpPr>
          <p:spPr>
            <a:xfrm rot="8100000">
              <a:off x="3319430" y="2486360"/>
              <a:ext cx="1275682" cy="1275682"/>
            </a:xfrm>
            <a:prstGeom prst="teardrop">
              <a:avLst>
                <a:gd name="adj" fmla="val 109962"/>
              </a:avLst>
            </a:prstGeom>
            <a:solidFill>
              <a:srgbClr val="6CA7C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4" name="Oval 43">
              <a:extLst>
                <a:ext uri="{FF2B5EF4-FFF2-40B4-BE49-F238E27FC236}">
                  <a16:creationId xmlns:a16="http://schemas.microsoft.com/office/drawing/2014/main" id="{6297A5E8-6CC5-4684-B76E-21A4BEE8212F}"/>
                </a:ext>
              </a:extLst>
            </p:cNvPr>
            <p:cNvSpPr/>
            <p:nvPr/>
          </p:nvSpPr>
          <p:spPr>
            <a:xfrm>
              <a:off x="3513779" y="2679358"/>
              <a:ext cx="889686" cy="889686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464EF515-FF96-40DA-B20A-A88443526EA8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658362" y="2811877"/>
              <a:ext cx="597818" cy="597816"/>
            </a:xfrm>
            <a:prstGeom prst="rect">
              <a:avLst/>
            </a:prstGeom>
          </p:spPr>
        </p:pic>
      </p:grpSp>
      <p:grpSp>
        <p:nvGrpSpPr>
          <p:cNvPr id="31" name="Group 30">
            <a:extLst>
              <a:ext uri="{FF2B5EF4-FFF2-40B4-BE49-F238E27FC236}">
                <a16:creationId xmlns:a16="http://schemas.microsoft.com/office/drawing/2014/main" id="{4A775085-3529-43FE-A492-7CDEC133C63A}"/>
              </a:ext>
            </a:extLst>
          </p:cNvPr>
          <p:cNvGrpSpPr/>
          <p:nvPr/>
        </p:nvGrpSpPr>
        <p:grpSpPr>
          <a:xfrm>
            <a:off x="9709192" y="2486360"/>
            <a:ext cx="1275682" cy="1275682"/>
            <a:chOff x="9695745" y="2486360"/>
            <a:chExt cx="1275682" cy="1275682"/>
          </a:xfrm>
        </p:grpSpPr>
        <p:sp>
          <p:nvSpPr>
            <p:cNvPr id="52" name="Teardrop 51">
              <a:extLst>
                <a:ext uri="{FF2B5EF4-FFF2-40B4-BE49-F238E27FC236}">
                  <a16:creationId xmlns:a16="http://schemas.microsoft.com/office/drawing/2014/main" id="{71572BA2-90F9-4248-827B-F8EC61074477}"/>
                </a:ext>
              </a:extLst>
            </p:cNvPr>
            <p:cNvSpPr/>
            <p:nvPr/>
          </p:nvSpPr>
          <p:spPr>
            <a:xfrm rot="8100000">
              <a:off x="9695745" y="2486360"/>
              <a:ext cx="1275682" cy="1275682"/>
            </a:xfrm>
            <a:prstGeom prst="teardrop">
              <a:avLst>
                <a:gd name="adj" fmla="val 109962"/>
              </a:avLst>
            </a:prstGeom>
            <a:solidFill>
              <a:srgbClr val="FF605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3" name="Oval 52">
              <a:extLst>
                <a:ext uri="{FF2B5EF4-FFF2-40B4-BE49-F238E27FC236}">
                  <a16:creationId xmlns:a16="http://schemas.microsoft.com/office/drawing/2014/main" id="{B90B3DC9-837A-471D-A7B9-733D4F909D42}"/>
                </a:ext>
              </a:extLst>
            </p:cNvPr>
            <p:cNvSpPr/>
            <p:nvPr/>
          </p:nvSpPr>
          <p:spPr>
            <a:xfrm>
              <a:off x="9890094" y="2679358"/>
              <a:ext cx="889686" cy="889686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5EAB8467-CD93-451D-B717-95579519105E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034677" y="2822274"/>
              <a:ext cx="597818" cy="597816"/>
            </a:xfrm>
            <a:prstGeom prst="rect">
              <a:avLst/>
            </a:prstGeom>
          </p:spPr>
        </p:pic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BDB59512-5E0D-43C4-8046-65A519D8A4D1}"/>
              </a:ext>
            </a:extLst>
          </p:cNvPr>
          <p:cNvGrpSpPr/>
          <p:nvPr/>
        </p:nvGrpSpPr>
        <p:grpSpPr>
          <a:xfrm>
            <a:off x="5443618" y="2486360"/>
            <a:ext cx="1275682" cy="1275682"/>
            <a:chOff x="5430171" y="2486360"/>
            <a:chExt cx="1275682" cy="1275682"/>
          </a:xfrm>
        </p:grpSpPr>
        <p:sp>
          <p:nvSpPr>
            <p:cNvPr id="45" name="Teardrop 44">
              <a:extLst>
                <a:ext uri="{FF2B5EF4-FFF2-40B4-BE49-F238E27FC236}">
                  <a16:creationId xmlns:a16="http://schemas.microsoft.com/office/drawing/2014/main" id="{3686DFF7-23C8-4A91-B5D0-AEFE1B477FCB}"/>
                </a:ext>
              </a:extLst>
            </p:cNvPr>
            <p:cNvSpPr/>
            <p:nvPr/>
          </p:nvSpPr>
          <p:spPr>
            <a:xfrm rot="8100000">
              <a:off x="5430171" y="2486360"/>
              <a:ext cx="1275682" cy="1275682"/>
            </a:xfrm>
            <a:prstGeom prst="teardrop">
              <a:avLst>
                <a:gd name="adj" fmla="val 109962"/>
              </a:avLst>
            </a:prstGeom>
            <a:solidFill>
              <a:srgbClr val="FDBA7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6" name="Oval 45">
              <a:extLst>
                <a:ext uri="{FF2B5EF4-FFF2-40B4-BE49-F238E27FC236}">
                  <a16:creationId xmlns:a16="http://schemas.microsoft.com/office/drawing/2014/main" id="{65DC3AB2-0558-4F3F-A298-A02448E2E407}"/>
                </a:ext>
              </a:extLst>
            </p:cNvPr>
            <p:cNvSpPr/>
            <p:nvPr/>
          </p:nvSpPr>
          <p:spPr>
            <a:xfrm>
              <a:off x="5624520" y="2679358"/>
              <a:ext cx="889686" cy="889686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8E917A88-29BA-48D7-9282-E043F1D30260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69103" y="2822274"/>
              <a:ext cx="597818" cy="597816"/>
            </a:xfrm>
            <a:prstGeom prst="rect">
              <a:avLst/>
            </a:prstGeom>
          </p:spPr>
        </p:pic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id="{479A7082-3886-4000-A9B3-1CE68811D695}"/>
              </a:ext>
            </a:extLst>
          </p:cNvPr>
          <p:cNvGrpSpPr/>
          <p:nvPr/>
        </p:nvGrpSpPr>
        <p:grpSpPr>
          <a:xfrm>
            <a:off x="7593820" y="2486360"/>
            <a:ext cx="1275682" cy="1275682"/>
            <a:chOff x="7580373" y="2486360"/>
            <a:chExt cx="1275682" cy="1275682"/>
          </a:xfrm>
        </p:grpSpPr>
        <p:sp>
          <p:nvSpPr>
            <p:cNvPr id="47" name="Teardrop 46">
              <a:extLst>
                <a:ext uri="{FF2B5EF4-FFF2-40B4-BE49-F238E27FC236}">
                  <a16:creationId xmlns:a16="http://schemas.microsoft.com/office/drawing/2014/main" id="{B8C5BD0E-4DBA-4649-94EB-FD5BD13A0A14}"/>
                </a:ext>
              </a:extLst>
            </p:cNvPr>
            <p:cNvSpPr/>
            <p:nvPr/>
          </p:nvSpPr>
          <p:spPr>
            <a:xfrm rot="8100000">
              <a:off x="7580373" y="2486360"/>
              <a:ext cx="1275682" cy="1275682"/>
            </a:xfrm>
            <a:prstGeom prst="teardrop">
              <a:avLst>
                <a:gd name="adj" fmla="val 109962"/>
              </a:avLst>
            </a:prstGeom>
            <a:solidFill>
              <a:srgbClr val="7C9A6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8" name="Oval 47">
              <a:extLst>
                <a:ext uri="{FF2B5EF4-FFF2-40B4-BE49-F238E27FC236}">
                  <a16:creationId xmlns:a16="http://schemas.microsoft.com/office/drawing/2014/main" id="{A189A5E2-94B3-46A8-AB58-A991BF9A9149}"/>
                </a:ext>
              </a:extLst>
            </p:cNvPr>
            <p:cNvSpPr/>
            <p:nvPr/>
          </p:nvSpPr>
          <p:spPr>
            <a:xfrm>
              <a:off x="7774722" y="2679358"/>
              <a:ext cx="889686" cy="889686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29" name="Picture 28">
              <a:extLst>
                <a:ext uri="{FF2B5EF4-FFF2-40B4-BE49-F238E27FC236}">
                  <a16:creationId xmlns:a16="http://schemas.microsoft.com/office/drawing/2014/main" id="{85B50026-729B-4C78-BBCE-58785864A3BD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919426" y="2811877"/>
              <a:ext cx="600416" cy="60041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2478660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25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25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25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250"/>
                            </p:stCondLst>
                            <p:childTnLst>
                              <p:par>
                                <p:cTn id="11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25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25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" dur="25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500"/>
                            </p:stCondLst>
                            <p:childTnLst>
                              <p:par>
                                <p:cTn id="17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" dur="25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25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1" dur="25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750"/>
                            </p:stCondLst>
                            <p:childTnLst>
                              <p:par>
                                <p:cTn id="23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25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" dur="25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25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1000"/>
                            </p:stCondLst>
                            <p:childTnLst>
                              <p:par>
                                <p:cTn id="29" presetID="22" presetClass="entr" presetSubtype="8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1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1750"/>
                            </p:stCondLst>
                            <p:childTnLst>
                              <p:par>
                                <p:cTn id="33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5" dur="25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25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7" dur="25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>
                            <p:stCondLst>
                              <p:cond delay="2000"/>
                            </p:stCondLst>
                            <p:childTnLst>
                              <p:par>
                                <p:cTn id="39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1" dur="25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" dur="25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3" dur="25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2250"/>
                            </p:stCondLst>
                            <p:childTnLst>
                              <p:par>
                                <p:cTn id="4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7" dur="250" fill="hold"/>
                                        <p:tgtEl>
                                          <p:spTgt spid="11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250" fill="hold"/>
                                        <p:tgtEl>
                                          <p:spTgt spid="11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9" dur="250"/>
                                        <p:tgtEl>
                                          <p:spTgt spid="1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0" fill="hold">
                            <p:stCondLst>
                              <p:cond delay="2500"/>
                            </p:stCondLst>
                            <p:childTnLst>
                              <p:par>
                                <p:cTn id="51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250"/>
                                        <p:tgtEl>
                                          <p:spTgt spid="11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4" dur="250" fill="hold"/>
                                        <p:tgtEl>
                                          <p:spTgt spid="1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5" dur="250" fill="hold"/>
                                        <p:tgtEl>
                                          <p:spTgt spid="1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2750"/>
                            </p:stCondLst>
                            <p:childTnLst>
                              <p:par>
                                <p:cTn id="57" presetID="22" presetClass="entr" presetSubtype="8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9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0" fill="hold">
                            <p:stCondLst>
                              <p:cond delay="3500"/>
                            </p:stCondLst>
                            <p:childTnLst>
                              <p:par>
                                <p:cTn id="61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3" dur="25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4" dur="25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5" dur="25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6" fill="hold">
                            <p:stCondLst>
                              <p:cond delay="3750"/>
                            </p:stCondLst>
                            <p:childTnLst>
                              <p:par>
                                <p:cTn id="67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9" dur="25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0" dur="25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1" dur="25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2" fill="hold">
                            <p:stCondLst>
                              <p:cond delay="4000"/>
                            </p:stCondLst>
                            <p:childTnLst>
                              <p:par>
                                <p:cTn id="73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5" dur="250" fill="hold"/>
                                        <p:tgtEl>
                                          <p:spTgt spid="12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6" dur="250" fill="hold"/>
                                        <p:tgtEl>
                                          <p:spTgt spid="12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7" dur="250"/>
                                        <p:tgtEl>
                                          <p:spTgt spid="1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8" fill="hold">
                            <p:stCondLst>
                              <p:cond delay="4250"/>
                            </p:stCondLst>
                            <p:childTnLst>
                              <p:par>
                                <p:cTn id="79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1" dur="250"/>
                                        <p:tgtEl>
                                          <p:spTgt spid="12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2" dur="250" fill="hold"/>
                                        <p:tgtEl>
                                          <p:spTgt spid="1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3" dur="250" fill="hold"/>
                                        <p:tgtEl>
                                          <p:spTgt spid="1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4" fill="hold">
                            <p:stCondLst>
                              <p:cond delay="4500"/>
                            </p:stCondLst>
                            <p:childTnLst>
                              <p:par>
                                <p:cTn id="85" presetID="22" presetClass="entr" presetSubtype="8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87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8" fill="hold">
                            <p:stCondLst>
                              <p:cond delay="5250"/>
                            </p:stCondLst>
                            <p:childTnLst>
                              <p:par>
                                <p:cTn id="89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1" dur="25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2" dur="25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3" dur="25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4" fill="hold">
                            <p:stCondLst>
                              <p:cond delay="5500"/>
                            </p:stCondLst>
                            <p:childTnLst>
                              <p:par>
                                <p:cTn id="95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7" dur="25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8" dur="25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9" dur="25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0" fill="hold">
                            <p:stCondLst>
                              <p:cond delay="5750"/>
                            </p:stCondLst>
                            <p:childTnLst>
                              <p:par>
                                <p:cTn id="101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3" dur="250" fill="hold"/>
                                        <p:tgtEl>
                                          <p:spTgt spid="12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4" dur="250" fill="hold"/>
                                        <p:tgtEl>
                                          <p:spTgt spid="12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5" dur="250"/>
                                        <p:tgtEl>
                                          <p:spTgt spid="1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6" fill="hold">
                            <p:stCondLst>
                              <p:cond delay="6000"/>
                            </p:stCondLst>
                            <p:childTnLst>
                              <p:par>
                                <p:cTn id="107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9" dur="250"/>
                                        <p:tgtEl>
                                          <p:spTgt spid="12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10" dur="250" fill="hold"/>
                                        <p:tgtEl>
                                          <p:spTgt spid="1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1" dur="250" fill="hold"/>
                                        <p:tgtEl>
                                          <p:spTgt spid="1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2" fill="hold">
                            <p:stCondLst>
                              <p:cond delay="6250"/>
                            </p:stCondLst>
                            <p:childTnLst>
                              <p:par>
                                <p:cTn id="113" presetID="22" presetClass="entr" presetSubtype="8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5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6" fill="hold">
                            <p:stCondLst>
                              <p:cond delay="7000"/>
                            </p:stCondLst>
                            <p:childTnLst>
                              <p:par>
                                <p:cTn id="117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9" dur="25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0" dur="25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21" dur="25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2" fill="hold">
                            <p:stCondLst>
                              <p:cond delay="7250"/>
                            </p:stCondLst>
                            <p:childTnLst>
                              <p:par>
                                <p:cTn id="123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5" dur="25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6" dur="25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27" dur="25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8" fill="hold">
                            <p:stCondLst>
                              <p:cond delay="7500"/>
                            </p:stCondLst>
                            <p:childTnLst>
                              <p:par>
                                <p:cTn id="129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1" dur="250" fill="hold"/>
                                        <p:tgtEl>
                                          <p:spTgt spid="13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2" dur="250" fill="hold"/>
                                        <p:tgtEl>
                                          <p:spTgt spid="13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3" dur="250"/>
                                        <p:tgtEl>
                                          <p:spTgt spid="1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4" fill="hold">
                            <p:stCondLst>
                              <p:cond delay="7750"/>
                            </p:stCondLst>
                            <p:childTnLst>
                              <p:par>
                                <p:cTn id="135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7" dur="250"/>
                                        <p:tgtEl>
                                          <p:spTgt spid="12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8" dur="250" fill="hold"/>
                                        <p:tgtEl>
                                          <p:spTgt spid="1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9" dur="250" fill="hold"/>
                                        <p:tgtEl>
                                          <p:spTgt spid="1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9" grpId="0"/>
      <p:bldP spid="119" grpId="0"/>
      <p:bldP spid="123" grpId="0"/>
      <p:bldP spid="127" grpId="0"/>
      <p:bldP spid="131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7258FFF-F925-446B-8502-81C933981705}" type="slidenum">
              <a:rPr lang="en-IN" smtClean="0">
                <a:solidFill>
                  <a:srgbClr val="505050"/>
                </a:solidFill>
              </a:rPr>
              <a:pPr/>
              <a:t>8</a:t>
            </a:fld>
            <a:endParaRPr lang="en-IN">
              <a:solidFill>
                <a:srgbClr val="505050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440703" y="6242898"/>
            <a:ext cx="1314450" cy="447675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14772" y="416637"/>
            <a:ext cx="8640381" cy="5820587"/>
          </a:xfrm>
          <a:prstGeom prst="rect">
            <a:avLst/>
          </a:prstGeom>
        </p:spPr>
      </p:pic>
      <p:sp>
        <p:nvSpPr>
          <p:cNvPr id="5" name="Down Arrow 4"/>
          <p:cNvSpPr/>
          <p:nvPr/>
        </p:nvSpPr>
        <p:spPr bwMode="auto">
          <a:xfrm>
            <a:off x="-1" y="128589"/>
            <a:ext cx="3587019" cy="6729412"/>
          </a:xfrm>
          <a:prstGeom prst="downArrow">
            <a:avLst/>
          </a:prstGeom>
          <a:solidFill>
            <a:srgbClr val="FFE285"/>
          </a:solidFill>
          <a:ln>
            <a:headEnd type="none" w="med" len="med"/>
            <a:tailEnd type="none" w="med" len="med"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2400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1457325" y="342900"/>
            <a:ext cx="828675" cy="6152453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da-DK" sz="4800" dirty="0" smtClea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D</a:t>
            </a:r>
          </a:p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da-DK" sz="4800" dirty="0" smtClea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O</a:t>
            </a:r>
          </a:p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da-DK" sz="4800" dirty="0" smtClea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W</a:t>
            </a:r>
          </a:p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da-DK" sz="4800" dirty="0" smtClea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N</a:t>
            </a:r>
          </a:p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da-DK" sz="4800" dirty="0" smtClea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R</a:t>
            </a:r>
          </a:p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da-DK" sz="4800" dirty="0" smtClea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O</a:t>
            </a:r>
          </a:p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da-DK" sz="4800" dirty="0" smtClea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A</a:t>
            </a:r>
          </a:p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da-DK" sz="48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D</a:t>
            </a:r>
            <a:endParaRPr lang="en-GB" sz="4800" dirty="0" err="1" smtClean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</p:spTree>
    <p:extLst>
      <p:ext uri="{BB962C8B-B14F-4D97-AF65-F5344CB8AC3E}">
        <p14:creationId xmlns:p14="http://schemas.microsoft.com/office/powerpoint/2010/main" val="23101526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7258FFF-F925-446B-8502-81C933981705}" type="slidenum">
              <a:rPr lang="en-IN" smtClean="0">
                <a:solidFill>
                  <a:srgbClr val="505050"/>
                </a:solidFill>
              </a:rPr>
              <a:pPr/>
              <a:t>9</a:t>
            </a:fld>
            <a:endParaRPr lang="en-IN">
              <a:solidFill>
                <a:srgbClr val="505050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776542" y="6356350"/>
            <a:ext cx="1316850" cy="451143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130812" y="2301073"/>
            <a:ext cx="11791950" cy="627864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IN" sz="2400" dirty="0" err="1" smtClean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53143" y="362333"/>
            <a:ext cx="9485714" cy="61333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1523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TB Product Families 2013">
  <a:themeElements>
    <a:clrScheme name="Custom 4">
      <a:dk1>
        <a:srgbClr val="000000"/>
      </a:dk1>
      <a:lt1>
        <a:srgbClr val="FFFFFF"/>
      </a:lt1>
      <a:dk2>
        <a:srgbClr val="505050"/>
      </a:dk2>
      <a:lt2>
        <a:srgbClr val="D2D2D2"/>
      </a:lt2>
      <a:accent1>
        <a:srgbClr val="DC3C00"/>
      </a:accent1>
      <a:accent2>
        <a:srgbClr val="FF8C00"/>
      </a:accent2>
      <a:accent3>
        <a:srgbClr val="0072C6"/>
      </a:accent3>
      <a:accent4>
        <a:srgbClr val="008272"/>
      </a:accent4>
      <a:accent5>
        <a:srgbClr val="68217A"/>
      </a:accent5>
      <a:accent6>
        <a:srgbClr val="00BCF2"/>
      </a:accent6>
      <a:hlink>
        <a:srgbClr val="D2D2D2"/>
      </a:hlink>
      <a:folHlink>
        <a:srgbClr val="505050"/>
      </a:folHlink>
    </a:clrScheme>
    <a:fontScheme name="STB-2013-SegoeUI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2" id="{8DAB7D18-9A9C-442A-B50E-F6F6DCC92343}" vid="{626FD01B-D220-44C7-964F-5ACF063E0159}"/>
    </a:ext>
  </a:extLst>
</a:theme>
</file>

<file path=ppt/theme/theme10.xml><?xml version="1.0" encoding="utf-8"?>
<a:theme xmlns:a="http://schemas.openxmlformats.org/drawingml/2006/main" name="2_LIGHT COLOR TEMPLATE">
  <a:themeElements>
    <a:clrScheme name="Custom 19">
      <a:dk1>
        <a:srgbClr val="505050"/>
      </a:dk1>
      <a:lt1>
        <a:srgbClr val="FFFFFF"/>
      </a:lt1>
      <a:dk2>
        <a:srgbClr val="0078D7"/>
      </a:dk2>
      <a:lt2>
        <a:srgbClr val="EAEAEA"/>
      </a:lt2>
      <a:accent1>
        <a:srgbClr val="0078D7"/>
      </a:accent1>
      <a:accent2>
        <a:srgbClr val="B4009E"/>
      </a:accent2>
      <a:accent3>
        <a:srgbClr val="107C10"/>
      </a:accent3>
      <a:accent4>
        <a:srgbClr val="5C2D91"/>
      </a:accent4>
      <a:accent5>
        <a:srgbClr val="008272"/>
      </a:accent5>
      <a:accent6>
        <a:srgbClr val="D83B01"/>
      </a:accent6>
      <a:hlink>
        <a:srgbClr val="0078D7"/>
      </a:hlink>
      <a:folHlink>
        <a:srgbClr val="0078D7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SVID_TT_BRAND_16-9_LIGHT_Oct_2014.potx" id="{01585BF9-DAFB-4D05-AB61-D5E973BF12D0}" vid="{F7B22F6B-F826-443B-8C90-7F7D36D644D5}"/>
    </a:ext>
  </a:extLst>
</a:theme>
</file>

<file path=ppt/theme/theme11.xml><?xml version="1.0" encoding="utf-8"?>
<a:theme xmlns:a="http://schemas.openxmlformats.org/drawingml/2006/main" name="5_LIGHT COLOR TEMPLATE">
  <a:themeElements>
    <a:clrScheme name="Custom 19">
      <a:dk1>
        <a:srgbClr val="505050"/>
      </a:dk1>
      <a:lt1>
        <a:srgbClr val="FFFFFF"/>
      </a:lt1>
      <a:dk2>
        <a:srgbClr val="0078D7"/>
      </a:dk2>
      <a:lt2>
        <a:srgbClr val="EAEAEA"/>
      </a:lt2>
      <a:accent1>
        <a:srgbClr val="0078D7"/>
      </a:accent1>
      <a:accent2>
        <a:srgbClr val="B4009E"/>
      </a:accent2>
      <a:accent3>
        <a:srgbClr val="107C10"/>
      </a:accent3>
      <a:accent4>
        <a:srgbClr val="5C2D91"/>
      </a:accent4>
      <a:accent5>
        <a:srgbClr val="008272"/>
      </a:accent5>
      <a:accent6>
        <a:srgbClr val="D83B01"/>
      </a:accent6>
      <a:hlink>
        <a:srgbClr val="0078D7"/>
      </a:hlink>
      <a:folHlink>
        <a:srgbClr val="0078D7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SVID_TT_BRAND_16-9_LIGHT_Oct_2014.potx" id="{01585BF9-DAFB-4D05-AB61-D5E973BF12D0}" vid="{F7B22F6B-F826-443B-8C90-7F7D36D644D5}"/>
    </a:ext>
  </a:extLst>
</a:theme>
</file>

<file path=ppt/theme/theme12.xml><?xml version="1.0" encoding="utf-8"?>
<a:theme xmlns:a="http://schemas.openxmlformats.org/drawingml/2006/main" name="3_WHITE TEMPLATE">
  <a:themeElements>
    <a:clrScheme name="Custom 19">
      <a:dk1>
        <a:srgbClr val="505050"/>
      </a:dk1>
      <a:lt1>
        <a:srgbClr val="FFFFFF"/>
      </a:lt1>
      <a:dk2>
        <a:srgbClr val="0078D7"/>
      </a:dk2>
      <a:lt2>
        <a:srgbClr val="EAEAEA"/>
      </a:lt2>
      <a:accent1>
        <a:srgbClr val="0078D7"/>
      </a:accent1>
      <a:accent2>
        <a:srgbClr val="B4009E"/>
      </a:accent2>
      <a:accent3>
        <a:srgbClr val="107C10"/>
      </a:accent3>
      <a:accent4>
        <a:srgbClr val="5C2D91"/>
      </a:accent4>
      <a:accent5>
        <a:srgbClr val="008272"/>
      </a:accent5>
      <a:accent6>
        <a:srgbClr val="D83B01"/>
      </a:accent6>
      <a:hlink>
        <a:srgbClr val="0078D7"/>
      </a:hlink>
      <a:folHlink>
        <a:srgbClr val="0078D7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icrosoft_Ignite_2015_Power BI Overview _BRK2568" id="{07B3E290-5A9F-466B-B48F-03423F871227}" vid="{2FDE698B-BE5B-4706-AA82-1865D512E0D0}"/>
    </a:ext>
  </a:extLst>
</a:theme>
</file>

<file path=ppt/theme/theme1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Power BI Template">
  <a:themeElements>
    <a:clrScheme name="New Power BI L300 colors">
      <a:dk1>
        <a:srgbClr val="505050"/>
      </a:dk1>
      <a:lt1>
        <a:srgbClr val="FFFFFF"/>
      </a:lt1>
      <a:dk2>
        <a:srgbClr val="0078D7"/>
      </a:dk2>
      <a:lt2>
        <a:srgbClr val="EAEAEA"/>
      </a:lt2>
      <a:accent1>
        <a:srgbClr val="0078D7"/>
      </a:accent1>
      <a:accent2>
        <a:srgbClr val="FF8C00"/>
      </a:accent2>
      <a:accent3>
        <a:srgbClr val="FF8C00"/>
      </a:accent3>
      <a:accent4>
        <a:srgbClr val="107C10"/>
      </a:accent4>
      <a:accent5>
        <a:srgbClr val="107C10"/>
      </a:accent5>
      <a:accent6>
        <a:srgbClr val="00B0F0"/>
      </a:accent6>
      <a:hlink>
        <a:srgbClr val="0078D7"/>
      </a:hlink>
      <a:folHlink>
        <a:srgbClr val="0078D7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SVID_TT_BRAND_16-9_LIGHT_Oct_2014.potx" id="{01585BF9-DAFB-4D05-AB61-D5E973BF12D0}" vid="{F7B22F6B-F826-443B-8C90-7F7D36D644D5}"/>
    </a:ext>
  </a:extLst>
</a:theme>
</file>

<file path=ppt/theme/theme3.xml><?xml version="1.0" encoding="utf-8"?>
<a:theme xmlns:a="http://schemas.openxmlformats.org/drawingml/2006/main" name="2_WHITE TEMPLATE">
  <a:themeElements>
    <a:clrScheme name="Custom 19">
      <a:dk1>
        <a:srgbClr val="505050"/>
      </a:dk1>
      <a:lt1>
        <a:srgbClr val="FFFFFF"/>
      </a:lt1>
      <a:dk2>
        <a:srgbClr val="0078D7"/>
      </a:dk2>
      <a:lt2>
        <a:srgbClr val="EAEAEA"/>
      </a:lt2>
      <a:accent1>
        <a:srgbClr val="0078D7"/>
      </a:accent1>
      <a:accent2>
        <a:srgbClr val="B4009E"/>
      </a:accent2>
      <a:accent3>
        <a:srgbClr val="107C10"/>
      </a:accent3>
      <a:accent4>
        <a:srgbClr val="5C2D91"/>
      </a:accent4>
      <a:accent5>
        <a:srgbClr val="008272"/>
      </a:accent5>
      <a:accent6>
        <a:srgbClr val="D83B01"/>
      </a:accent6>
      <a:hlink>
        <a:srgbClr val="0078D7"/>
      </a:hlink>
      <a:folHlink>
        <a:srgbClr val="0078D7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icrosoft_Ignite_2015_Power BI Overview _BRK2568" id="{E49EA6DA-94D8-45DC-A9F2-0C4322309D29}" vid="{B53B337B-29AC-4FFD-92F8-9CB5DFE2CCB6}"/>
    </a:ext>
  </a:extLst>
</a:theme>
</file>

<file path=ppt/theme/theme4.xml><?xml version="1.0" encoding="utf-8"?>
<a:theme xmlns:a="http://schemas.openxmlformats.org/drawingml/2006/main" name="3_LIGHT COLOR TEMPLATE">
  <a:themeElements>
    <a:clrScheme name="Custom 19">
      <a:dk1>
        <a:srgbClr val="505050"/>
      </a:dk1>
      <a:lt1>
        <a:srgbClr val="FFFFFF"/>
      </a:lt1>
      <a:dk2>
        <a:srgbClr val="0078D7"/>
      </a:dk2>
      <a:lt2>
        <a:srgbClr val="EAEAEA"/>
      </a:lt2>
      <a:accent1>
        <a:srgbClr val="0078D7"/>
      </a:accent1>
      <a:accent2>
        <a:srgbClr val="B4009E"/>
      </a:accent2>
      <a:accent3>
        <a:srgbClr val="107C10"/>
      </a:accent3>
      <a:accent4>
        <a:srgbClr val="5C2D91"/>
      </a:accent4>
      <a:accent5>
        <a:srgbClr val="008272"/>
      </a:accent5>
      <a:accent6>
        <a:srgbClr val="D83B01"/>
      </a:accent6>
      <a:hlink>
        <a:srgbClr val="0078D7"/>
      </a:hlink>
      <a:folHlink>
        <a:srgbClr val="0078D7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SVID_TT_BRAND_16-9_LIGHT_Oct_2014.potx" id="{01585BF9-DAFB-4D05-AB61-D5E973BF12D0}" vid="{F7B22F6B-F826-443B-8C90-7F7D36D644D5}"/>
    </a:ext>
  </a:extLst>
</a:theme>
</file>

<file path=ppt/theme/theme5.xml><?xml version="1.0" encoding="utf-8"?>
<a:theme xmlns:a="http://schemas.openxmlformats.org/drawingml/2006/main" name="2_Power BI Template">
  <a:themeElements>
    <a:clrScheme name="New Power BI L300 colors">
      <a:dk1>
        <a:srgbClr val="505050"/>
      </a:dk1>
      <a:lt1>
        <a:srgbClr val="FFFFFF"/>
      </a:lt1>
      <a:dk2>
        <a:srgbClr val="0078D7"/>
      </a:dk2>
      <a:lt2>
        <a:srgbClr val="EAEAEA"/>
      </a:lt2>
      <a:accent1>
        <a:srgbClr val="0078D7"/>
      </a:accent1>
      <a:accent2>
        <a:srgbClr val="FF8C00"/>
      </a:accent2>
      <a:accent3>
        <a:srgbClr val="FF8C00"/>
      </a:accent3>
      <a:accent4>
        <a:srgbClr val="107C10"/>
      </a:accent4>
      <a:accent5>
        <a:srgbClr val="107C10"/>
      </a:accent5>
      <a:accent6>
        <a:srgbClr val="00B0F0"/>
      </a:accent6>
      <a:hlink>
        <a:srgbClr val="0078D7"/>
      </a:hlink>
      <a:folHlink>
        <a:srgbClr val="0078D7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SVID_TT_BRAND_16-9_LIGHT_Oct_2014.potx" id="{01585BF9-DAFB-4D05-AB61-D5E973BF12D0}" vid="{F7B22F6B-F826-443B-8C90-7F7D36D644D5}"/>
    </a:ext>
  </a:extLst>
</a:theme>
</file>

<file path=ppt/theme/theme6.xml><?xml version="1.0" encoding="utf-8"?>
<a:theme xmlns:a="http://schemas.openxmlformats.org/drawingml/2006/main" name="3_Power BI Template">
  <a:themeElements>
    <a:clrScheme name="New Power BI L300 colors">
      <a:dk1>
        <a:srgbClr val="505050"/>
      </a:dk1>
      <a:lt1>
        <a:srgbClr val="FFFFFF"/>
      </a:lt1>
      <a:dk2>
        <a:srgbClr val="0078D7"/>
      </a:dk2>
      <a:lt2>
        <a:srgbClr val="EAEAEA"/>
      </a:lt2>
      <a:accent1>
        <a:srgbClr val="0078D7"/>
      </a:accent1>
      <a:accent2>
        <a:srgbClr val="FF8C00"/>
      </a:accent2>
      <a:accent3>
        <a:srgbClr val="FF8C00"/>
      </a:accent3>
      <a:accent4>
        <a:srgbClr val="107C10"/>
      </a:accent4>
      <a:accent5>
        <a:srgbClr val="107C10"/>
      </a:accent5>
      <a:accent6>
        <a:srgbClr val="00B0F0"/>
      </a:accent6>
      <a:hlink>
        <a:srgbClr val="0078D7"/>
      </a:hlink>
      <a:folHlink>
        <a:srgbClr val="0078D7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SVID_TT_BRAND_16-9_LIGHT_Oct_2014.potx" id="{01585BF9-DAFB-4D05-AB61-D5E973BF12D0}" vid="{F7B22F6B-F826-443B-8C90-7F7D36D644D5}"/>
    </a:ext>
  </a:extLst>
</a:theme>
</file>

<file path=ppt/theme/theme7.xml><?xml version="1.0" encoding="utf-8"?>
<a:theme xmlns:a="http://schemas.openxmlformats.org/drawingml/2006/main" name="1_5-30610_Microsoft_Ignite_Keynote_Template">
  <a:themeElements>
    <a:clrScheme name="Ignite - Breakout - Gray Back">
      <a:dk1>
        <a:srgbClr val="000000"/>
      </a:dk1>
      <a:lt1>
        <a:srgbClr val="FFFFFF"/>
      </a:lt1>
      <a:dk2>
        <a:srgbClr val="505050"/>
      </a:dk2>
      <a:lt2>
        <a:srgbClr val="47D8FF"/>
      </a:lt2>
      <a:accent1>
        <a:srgbClr val="0078D7"/>
      </a:accent1>
      <a:accent2>
        <a:srgbClr val="5C2D91"/>
      </a:accent2>
      <a:accent3>
        <a:srgbClr val="B4009E"/>
      </a:accent3>
      <a:accent4>
        <a:srgbClr val="00BCF2"/>
      </a:accent4>
      <a:accent5>
        <a:srgbClr val="BAD80A"/>
      </a:accent5>
      <a:accent6>
        <a:srgbClr val="FF8C00"/>
      </a:accent6>
      <a:hlink>
        <a:srgbClr val="47D8FF"/>
      </a:hlink>
      <a:folHlink>
        <a:srgbClr val="47D8FF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ln>
          <a:noFill/>
          <a:headEnd type="none" w="med" len="med"/>
          <a:tailEnd type="none" w="med" len="med"/>
        </a:ln>
      </a:spPr>
      <a:bodyPr vert="horz" wrap="square" lIns="0" tIns="46637" rIns="0" bIns="46637" numCol="1" rtlCol="0" anchor="ctr" anchorCtr="0" compatLnSpc="1">
        <a:prstTxWarp prst="textNoShape">
          <a:avLst/>
        </a:prstTxWarp>
      </a:bodyPr>
      <a:lstStyle>
        <a:defPPr algn="ctr" defTabSz="932398" fontAlgn="base">
          <a:spcBef>
            <a:spcPct val="0"/>
          </a:spcBef>
          <a:spcAft>
            <a:spcPct val="0"/>
          </a:spcAft>
          <a:defRPr sz="2000" dirty="0">
            <a:gradFill>
              <a:gsLst>
                <a:gs pos="16814">
                  <a:srgbClr val="FFFFFF"/>
                </a:gs>
                <a:gs pos="46000">
                  <a:srgbClr val="FFFFFF"/>
                </a:gs>
              </a:gsLst>
              <a:lin ang="5400000" scaled="0"/>
            </a:gra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icrosoft_Ignite_2015_Breakout_Template.potx" id="{1A2CE55D-C0EF-4064-A39F-620642E032AA}" vid="{A3A9C9DA-6617-4D3E-A382-CDB23C8F3BF1}"/>
    </a:ext>
  </a:extLst>
</a:theme>
</file>

<file path=ppt/theme/theme8.xml><?xml version="1.0" encoding="utf-8"?>
<a:theme xmlns:a="http://schemas.openxmlformats.org/drawingml/2006/main" name="4_Power BI Template">
  <a:themeElements>
    <a:clrScheme name="New Power BI L300 colors">
      <a:dk1>
        <a:srgbClr val="505050"/>
      </a:dk1>
      <a:lt1>
        <a:srgbClr val="FFFFFF"/>
      </a:lt1>
      <a:dk2>
        <a:srgbClr val="0078D7"/>
      </a:dk2>
      <a:lt2>
        <a:srgbClr val="EAEAEA"/>
      </a:lt2>
      <a:accent1>
        <a:srgbClr val="0078D7"/>
      </a:accent1>
      <a:accent2>
        <a:srgbClr val="FF8C00"/>
      </a:accent2>
      <a:accent3>
        <a:srgbClr val="FF8C00"/>
      </a:accent3>
      <a:accent4>
        <a:srgbClr val="107C10"/>
      </a:accent4>
      <a:accent5>
        <a:srgbClr val="107C10"/>
      </a:accent5>
      <a:accent6>
        <a:srgbClr val="00B0F0"/>
      </a:accent6>
      <a:hlink>
        <a:srgbClr val="0078D7"/>
      </a:hlink>
      <a:folHlink>
        <a:srgbClr val="0078D7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SVID_TT_BRAND_16-9_LIGHT_Oct_2014.potx" id="{01585BF9-DAFB-4D05-AB61-D5E973BF12D0}" vid="{F7B22F6B-F826-443B-8C90-7F7D36D644D5}"/>
    </a:ext>
  </a:extLst>
</a:theme>
</file>

<file path=ppt/theme/theme9.xml><?xml version="1.0" encoding="utf-8"?>
<a:theme xmlns:a="http://schemas.openxmlformats.org/drawingml/2006/main" name="4_LIGHT COLOR TEMPLATE">
  <a:themeElements>
    <a:clrScheme name="Custom 19">
      <a:dk1>
        <a:srgbClr val="505050"/>
      </a:dk1>
      <a:lt1>
        <a:srgbClr val="FFFFFF"/>
      </a:lt1>
      <a:dk2>
        <a:srgbClr val="0078D7"/>
      </a:dk2>
      <a:lt2>
        <a:srgbClr val="EAEAEA"/>
      </a:lt2>
      <a:accent1>
        <a:srgbClr val="0078D7"/>
      </a:accent1>
      <a:accent2>
        <a:srgbClr val="B4009E"/>
      </a:accent2>
      <a:accent3>
        <a:srgbClr val="107C10"/>
      </a:accent3>
      <a:accent4>
        <a:srgbClr val="5C2D91"/>
      </a:accent4>
      <a:accent5>
        <a:srgbClr val="008272"/>
      </a:accent5>
      <a:accent6>
        <a:srgbClr val="D83B01"/>
      </a:accent6>
      <a:hlink>
        <a:srgbClr val="0078D7"/>
      </a:hlink>
      <a:folHlink>
        <a:srgbClr val="0078D7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SVID_TT_BRAND_16-9_LIGHT_Oct_2014.potx" id="{01585BF9-DAFB-4D05-AB61-D5E973BF12D0}" vid="{F7B22F6B-F826-443B-8C90-7F7D36D644D5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DocumentDescription xmlns="230e9df3-be65-4c73-a93b-d1236ebd677e">This is a level 200 deck that outlines the Power BI capabilities. It is a more detailed deck that accompanies the level 100 Power BI launch deck. It is intended to complement the Power BI IT Pro Level 200 Deck.</DocumentDescription>
    <hd9637eefc984b85b6097c6374e15725 xmlns="230e9df3-be65-4c73-a93b-d1236ebd677e">
      <Terms xmlns="http://schemas.microsoft.com/office/infopath/2007/PartnerControls">
        <TermInfo xmlns="http://schemas.microsoft.com/office/infopath/2007/PartnerControls">
          <TermName xmlns="http://schemas.microsoft.com/office/infopath/2007/PartnerControls">technical presentations</TermName>
          <TermId xmlns="http://schemas.microsoft.com/office/infopath/2007/PartnerControls">83a894cf-702b-47fc-aba5-41bd10dc1e75</TermId>
        </TermInfo>
      </Terms>
    </hd9637eefc984b85b6097c6374e15725>
    <k20e0dfa74bf4e44818db03027b0ccd8 xmlns="230e9df3-be65-4c73-a93b-d1236ebd677e">
      <Terms xmlns="http://schemas.microsoft.com/office/infopath/2007/PartnerControls"/>
    </k20e0dfa74bf4e44818db03027b0ccd8>
    <od9986d31974458fb3007746ec0bce5f xmlns="230e9df3-be65-4c73-a93b-d1236ebd677e">
      <Terms xmlns="http://schemas.microsoft.com/office/infopath/2007/PartnerControls"/>
    </od9986d31974458fb3007746ec0bce5f>
    <Owner xmlns="230e9df3-be65-4c73-a93b-d1236ebd677e">
      <UserInfo>
        <DisplayName>Sanjay Soni</DisplayName>
        <AccountId>20060</AccountId>
        <AccountType/>
      </UserInfo>
    </Owner>
    <k21a64daf20d4502b2796a1c6b8ce6c8 xmlns="230e9df3-be65-4c73-a93b-d1236ebd677e">
      <Terms xmlns="http://schemas.microsoft.com/office/infopath/2007/PartnerControls"/>
    </k21a64daf20d4502b2796a1c6b8ce6c8>
    <Expire_x0020_Review xmlns="230e9df3-be65-4c73-a93b-d1236ebd677e">2016-08-08T07:00:00+00:00</Expire_x0020_Review>
    <l3c3ea61849e4288a8acc49bb5388e8c xmlns="230e9df3-be65-4c73-a93b-d1236ebd677e">
      <Terms xmlns="http://schemas.microsoft.com/office/infopath/2007/PartnerControls">
        <TermInfo xmlns="http://schemas.microsoft.com/office/infopath/2007/PartnerControls">
          <TermName xmlns="http://schemas.microsoft.com/office/infopath/2007/PartnerControls">SQL Server Marketing</TermName>
          <TermId xmlns="http://schemas.microsoft.com/office/infopath/2007/PartnerControls">bb7921b3-c1d8-4da4-b894-8b6075d9546d</TermId>
        </TermInfo>
        <TermInfo xmlns="http://schemas.microsoft.com/office/infopath/2007/PartnerControls">
          <TermName xmlns="http://schemas.microsoft.com/office/infopath/2007/PartnerControls">Cloud and Enterprise Marketing Group</TermName>
          <TermId xmlns="http://schemas.microsoft.com/office/infopath/2007/PartnerControls">4f75e184-e5aa-4234-a07f-b032d60df254</TermId>
        </TermInfo>
      </Terms>
    </l3c3ea61849e4288a8acc49bb5388e8c>
    <ConfidentialityTaxHTField0 xmlns="230e9df3-be65-4c73-a93b-d1236ebd677e">
      <Terms xmlns="http://schemas.microsoft.com/office/infopath/2007/PartnerControls">
        <TermInfo xmlns="http://schemas.microsoft.com/office/infopath/2007/PartnerControls">
          <TermName xmlns="http://schemas.microsoft.com/office/infopath/2007/PartnerControls">customer ready</TermName>
          <TermId xmlns="http://schemas.microsoft.com/office/infopath/2007/PartnerControls">8986c41d-21c5-4f8f-8a12-ea4625b46858</TermId>
        </TermInfo>
      </Terms>
    </ConfidentialityTaxHTField0>
    <ApplyWorkflowRules xmlns="ad820760-4664-4be3-bee2-f8b9a6708b4c">No</ApplyWorkflowRules>
    <eb54ac91059940029a3cc8a4ff5af673 xmlns="230e9df3-be65-4c73-a93b-d1236ebd677e">
      <Terms xmlns="http://schemas.microsoft.com/office/infopath/2007/PartnerControls">
        <TermInfo xmlns="http://schemas.microsoft.com/office/infopath/2007/PartnerControls">
          <TermName xmlns="http://schemas.microsoft.com/office/infopath/2007/PartnerControls">SQL Server Domain</TermName>
          <TermId xmlns="http://schemas.microsoft.com/office/infopath/2007/PartnerControls">0c0f1824-39dc-4b26-8c74-eff4364b812b</TermId>
        </TermInfo>
        <TermInfo xmlns="http://schemas.microsoft.com/office/infopath/2007/PartnerControls">
          <TermName xmlns="http://schemas.microsoft.com/office/infopath/2007/PartnerControls">Server and Tools Business</TermName>
          <TermId xmlns="http://schemas.microsoft.com/office/infopath/2007/PartnerControls">6783548d-8609-4f97-be4a-4ca2616905a6</TermId>
        </TermInfo>
      </Terms>
    </eb54ac91059940029a3cc8a4ff5af673>
    <PublishingPageContent xmlns="http://schemas.microsoft.com/sharepoint/v3" xsi:nil="true"/>
    <MediaTitle xmlns="ad820760-4664-4be3-bee2-f8b9a6708b4c" xsi:nil="true"/>
    <IconOverlay xmlns="http://schemas.microsoft.com/sharepoint/v4" xsi:nil="true"/>
    <ef109fd36bcf4bcd9dd945731030600b xmlns="230e9df3-be65-4c73-a93b-d1236ebd677e">
      <Terms xmlns="http://schemas.microsoft.com/office/infopath/2007/PartnerControls"/>
    </ef109fd36bcf4bcd9dd945731030600b>
    <PublishDate xmlns="ad820760-4664-4be3-bee2-f8b9a6708b4c" xsi:nil="true"/>
    <LCA_x0020_Approved xmlns="230e9df3-be65-4c73-a93b-d1236ebd677e">
      <UserInfo>
        <DisplayName/>
        <AccountId xsi:nil="true"/>
        <AccountType/>
      </UserInfo>
    </LCA_x0020_Approved>
    <ec5b2ad5c27b45fb8a00a1f27c7ce1ae xmlns="230e9df3-be65-4c73-a93b-d1236ebd677e">
      <Terms xmlns="http://schemas.microsoft.com/office/infopath/2007/PartnerControls"/>
    </ec5b2ad5c27b45fb8a00a1f27c7ce1ae>
    <bf80e81150e248c48aa8cffdf0021a1f xmlns="230e9df3-be65-4c73-a93b-d1236ebd677e">
      <Terms xmlns="http://schemas.microsoft.com/office/infopath/2007/PartnerControls">
        <TermInfo xmlns="http://schemas.microsoft.com/office/infopath/2007/PartnerControls">
          <TermName xmlns="http://schemas.microsoft.com/office/infopath/2007/PartnerControls">Microsoft SQL Server</TermName>
          <TermId xmlns="http://schemas.microsoft.com/office/infopath/2007/PartnerControls">261ba873-f3ab-420e-96d6-e3004596a551</TermId>
        </TermInfo>
        <TermInfo xmlns="http://schemas.microsoft.com/office/infopath/2007/PartnerControls">
          <TermName xmlns="http://schemas.microsoft.com/office/infopath/2007/PartnerControls">Microsoft SQL Server Business Intelligence</TermName>
          <TermId xmlns="http://schemas.microsoft.com/office/infopath/2007/PartnerControls">9ffb7045-1f1b-41c0-987f-ffdc7c6f53c0</TermId>
        </TermInfo>
      </Terms>
    </bf80e81150e248c48aa8cffdf0021a1f>
    <m6d26e40ac264097a006193f92232ece xmlns="230e9df3-be65-4c73-a93b-d1236ebd677e">
      <Terms xmlns="http://schemas.microsoft.com/office/infopath/2007/PartnerControls"/>
    </m6d26e40ac264097a006193f92232ece>
    <b60f8d2dbb984f349d80d8196897f4d3 xmlns="230e9df3-be65-4c73-a93b-d1236ebd677e">
      <Terms xmlns="http://schemas.microsoft.com/office/infopath/2007/PartnerControls"/>
    </b60f8d2dbb984f349d80d8196897f4d3>
    <Thumbnail1 xmlns="230e9df3-be65-4c73-a93b-d1236ebd677e">
      <Url>http://infopedia/kc02/media/Thumbnails/SQL Server Domain/KC02-23-74586/Power BI Capability Deck L200.png</Url>
      <Description>/kc02/media/Thumbnails/SQL Server Domain/KC02-23-74586/Power BI Capability Deck L200.png</Description>
    </Thumbnail1>
    <i0d941ee1e744ffea7aeee9924c91cbb xmlns="230e9df3-be65-4c73-a93b-d1236ebd677e">
      <Terms xmlns="http://schemas.microsoft.com/office/infopath/2007/PartnerControls">
        <TermInfo xmlns="http://schemas.microsoft.com/office/infopath/2007/PartnerControls">
          <TermName xmlns="http://schemas.microsoft.com/office/infopath/2007/PartnerControls">business intelligence</TermName>
          <TermId xmlns="http://schemas.microsoft.com/office/infopath/2007/PartnerControls">e1f9659f-bde9-4479-81f9-2bc6e8ec0057</TermId>
        </TermInfo>
      </Terms>
    </i0d941ee1e744ffea7aeee9924c91cbb>
    <PublishingExpirationDate xmlns="http://schemas.microsoft.com/sharepoint/v3" xsi:nil="true"/>
    <RoutingRuleDescription xmlns="http://schemas.microsoft.com/sharepoint/v3" xsi:nil="true"/>
    <DocumentSetKcId xmlns="ad820760-4664-4be3-bee2-f8b9a6708b4c">74586</DocumentSetKcId>
    <CoOwner xmlns="ad820760-4664-4be3-bee2-f8b9a6708b4c">
      <UserInfo>
        <DisplayName>i:0#.w|redmond\meeryan</DisplayName>
        <AccountId>6624</AccountId>
        <AccountType/>
      </UserInfo>
      <UserInfo>
        <DisplayName>i:0#.w|redmond\v-anmarv</DisplayName>
        <AccountId>62976</AccountId>
        <AccountType/>
      </UserInfo>
      <UserInfo>
        <DisplayName>i:0#.w|redmond\chrisper</DisplayName>
        <AccountId>49210</AccountId>
        <AccountType/>
      </UserInfo>
    </CoOwner>
    <i1b478372f814787abd313030b81fcb2 xmlns="230e9df3-be65-4c73-a93b-d1236ebd677e">
      <Terms xmlns="http://schemas.microsoft.com/office/infopath/2007/PartnerControls"/>
    </i1b478372f814787abd313030b81fcb2>
    <TaxKeywordTaxHTField xmlns="230e9df3-be65-4c73-a93b-d1236ebd677e">
      <Terms xmlns="http://schemas.microsoft.com/office/infopath/2007/PartnerControls"/>
    </TaxKeywordTaxHTField>
    <TaxCatchAll xmlns="230e9df3-be65-4c73-a93b-d1236ebd677e">
      <Value>31</Value>
      <Value>13</Value>
      <Value>216</Value>
      <Value>311</Value>
      <Value>262</Value>
      <Value>762</Value>
      <Value>566</Value>
      <Value>156</Value>
      <Value>2324</Value>
    </TaxCatchAll>
    <mb88723863e1404388ba3733387d48df xmlns="230e9df3-be65-4c73-a93b-d1236ebd677e">
      <Terms xmlns="http://schemas.microsoft.com/office/infopath/2007/PartnerControls"/>
    </mb88723863e1404388ba3733387d48df>
    <b1337ea954344dcfb0425a10eee4daa8 xmlns="ad820760-4664-4be3-bee2-f8b9a6708b4c">
      <Terms xmlns="http://schemas.microsoft.com/office/infopath/2007/PartnerControls"/>
    </b1337ea954344dcfb0425a10eee4daa8>
    <kf34bcdc8fc34e479d3f94c6210e8e27 xmlns="230e9df3-be65-4c73-a93b-d1236ebd677e">
      <Terms xmlns="http://schemas.microsoft.com/office/infopath/2007/PartnerControls"/>
    </kf34bcdc8fc34e479d3f94c6210e8e27>
    <m6c7b4717b6346e6a075a59dd47eac69 xmlns="230e9df3-be65-4c73-a93b-d1236ebd677e">
      <Terms xmlns="http://schemas.microsoft.com/office/infopath/2007/PartnerControls"/>
    </m6c7b4717b6346e6a075a59dd47eac69>
    <_dlc_DocId xmlns="230e9df3-be65-4c73-a93b-d1236ebd677e">KC02-23-74598</_dlc_DocId>
    <_dlc_DocIdUrl xmlns="230e9df3-be65-4c73-a93b-d1236ebd677e">
      <Url>http://infopedia/kc02/docstore/_layouts/DocIdRedir.aspx?ID=KC02-23-74598</Url>
      <Description>KC02-23-74598</Description>
    </_dlc_DocIdUrl>
    <AverageRating xmlns="http://schemas.microsoft.com/sharepoint/v3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?mso-contentType ?>
<SharedContentType xmlns="Microsoft.SharePoint.Taxonomy.ContentTypeSync" SourceId="e385fb40-52d4-4fae-9c5b-3e8ff8a5878e" ContentTypeId="0x0101000E4CB7077FEE4FF7AE86D4A500EEC78003" PreviousValue="false"/>
</file>

<file path=customXml/item4.xml><?xml version="1.0" encoding="utf-8"?>
<ct:contentTypeSchema xmlns:ct="http://schemas.microsoft.com/office/2006/metadata/contentType" xmlns:ma="http://schemas.microsoft.com/office/2006/metadata/properties/metaAttributes" ct:_="" ma:_="" ma:contentTypeName="KCDoc" ma:contentTypeID="0x0101000E4CB7077FEE4FF7AE86D4A500EEC7800300C6CD36C6B4DAA64EAACFCCF5D9298AA000B09CC05C6355444CB49B4B62F83D23B8" ma:contentTypeVersion="43" ma:contentTypeDescription="" ma:contentTypeScope="" ma:versionID="529c3d1a1ff7547e8cab9af9dc74631e">
  <xsd:schema xmlns:xsd="http://www.w3.org/2001/XMLSchema" xmlns:xs="http://www.w3.org/2001/XMLSchema" xmlns:p="http://schemas.microsoft.com/office/2006/metadata/properties" xmlns:ns1="http://schemas.microsoft.com/sharepoint/v3" xmlns:ns2="230e9df3-be65-4c73-a93b-d1236ebd677e" xmlns:ns3="ad820760-4664-4be3-bee2-f8b9a6708b4c" xmlns:ns4="http://schemas.microsoft.com/sharepoint/v4" targetNamespace="http://schemas.microsoft.com/office/2006/metadata/properties" ma:root="true" ma:fieldsID="d263f6792e3b868d0f42c9b986651ab9" ns1:_="" ns2:_="" ns3:_="" ns4:_="">
    <xsd:import namespace="http://schemas.microsoft.com/sharepoint/v3"/>
    <xsd:import namespace="230e9df3-be65-4c73-a93b-d1236ebd677e"/>
    <xsd:import namespace="ad820760-4664-4be3-bee2-f8b9a6708b4c"/>
    <xsd:import namespace="http://schemas.microsoft.com/sharepoint/v4"/>
    <xsd:element name="properties">
      <xsd:complexType>
        <xsd:sequence>
          <xsd:element name="documentManagement">
            <xsd:complexType>
              <xsd:all>
                <xsd:element ref="ns2:DocumentDescription" minOccurs="0"/>
                <xsd:element ref="ns3:PublishDate" minOccurs="0"/>
                <xsd:element ref="ns1:PublishingExpirationDate" minOccurs="0"/>
                <xsd:element ref="ns1:AverageRating" minOccurs="0"/>
                <xsd:element ref="ns2:Thumbnail1" minOccurs="0"/>
                <xsd:element ref="ns1:PublishingPageContent" minOccurs="0"/>
                <xsd:element ref="ns1:RatingCount" minOccurs="0"/>
                <xsd:element ref="ns2:Owner" minOccurs="0"/>
                <xsd:element ref="ns2:LCA_x0020_Approved" minOccurs="0"/>
                <xsd:element ref="ns2:Expire_x0020_Review" minOccurs="0"/>
                <xsd:element ref="ns3:DocumentSetKcId" minOccurs="0"/>
                <xsd:element ref="ns3:CoOwner" minOccurs="0"/>
                <xsd:element ref="ns3:MediaTitle" minOccurs="0"/>
                <xsd:element ref="ns2:hd9637eefc984b85b6097c6374e15725" minOccurs="0"/>
                <xsd:element ref="ns2:l3c3ea61849e4288a8acc49bb5388e8c" minOccurs="0"/>
                <xsd:element ref="ns1:RoutingRuleDescription" minOccurs="0"/>
                <xsd:element ref="ns2:i0d941ee1e744ffea7aeee9924c91cbb" minOccurs="0"/>
                <xsd:element ref="ns2:TaxCatchAllLabel" minOccurs="0"/>
                <xsd:element ref="ns2:k21a64daf20d4502b2796a1c6b8ce6c8" minOccurs="0"/>
                <xsd:element ref="ns2:TaxCatchAll" minOccurs="0"/>
                <xsd:element ref="ns2:ef109fd36bcf4bcd9dd945731030600b" minOccurs="0"/>
                <xsd:element ref="ns2:mb88723863e1404388ba3733387d48df" minOccurs="0"/>
                <xsd:element ref="ns2:kf34bcdc8fc34e479d3f94c6210e8e27" minOccurs="0"/>
                <xsd:element ref="ns2:_dlc_DocIdUrl" minOccurs="0"/>
                <xsd:element ref="ns2:ec5b2ad5c27b45fb8a00a1f27c7ce1ae" minOccurs="0"/>
                <xsd:element ref="ns2:_dlc_DocIdPersistId" minOccurs="0"/>
                <xsd:element ref="ns2:b60f8d2dbb984f349d80d8196897f4d3" minOccurs="0"/>
                <xsd:element ref="ns2:ConfidentialityTaxHTField0" minOccurs="0"/>
                <xsd:element ref="ns3:ApplyWorkflowRules" minOccurs="0"/>
                <xsd:element ref="ns2:k20e0dfa74bf4e44818db03027b0ccd8" minOccurs="0"/>
                <xsd:element ref="ns2:eb54ac91059940029a3cc8a4ff5af673" minOccurs="0"/>
                <xsd:element ref="ns2:i1b478372f814787abd313030b81fcb2" minOccurs="0"/>
                <xsd:element ref="ns4:IconOverlay" minOccurs="0"/>
                <xsd:element ref="ns2:TaxKeywordTaxHTField" minOccurs="0"/>
                <xsd:element ref="ns2:od9986d31974458fb3007746ec0bce5f" minOccurs="0"/>
                <xsd:element ref="ns2:m6c7b4717b6346e6a075a59dd47eac69" minOccurs="0"/>
                <xsd:element ref="ns2:_dlc_DocId" minOccurs="0"/>
                <xsd:element ref="ns3:b1337ea954344dcfb0425a10eee4daa8" minOccurs="0"/>
                <xsd:element ref="ns2:bf80e81150e248c48aa8cffdf0021a1f" minOccurs="0"/>
                <xsd:element ref="ns2:m6d26e40ac264097a006193f92232ec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PublishingExpirationDate" ma:index="4" nillable="true" ma:displayName="Scheduling End Date" ma:internalName="PublishingExpirationDate">
      <xsd:simpleType>
        <xsd:restriction base="dms:Unknown"/>
      </xsd:simpleType>
    </xsd:element>
    <xsd:element name="AverageRating" ma:index="5" nillable="true" ma:displayName="Rating (0-5)" ma:decimals="2" ma:description="Average value of all the ratings that have been submitted" ma:internalName="AverageRating" ma:readOnly="true">
      <xsd:simpleType>
        <xsd:restriction base="dms:Number"/>
      </xsd:simpleType>
    </xsd:element>
    <xsd:element name="PublishingPageContent" ma:index="13" nillable="true" ma:displayName="Page Content" ma:internalName="PublishingPageContent">
      <xsd:simpleType>
        <xsd:restriction base="dms:Unknown"/>
      </xsd:simpleType>
    </xsd:element>
    <xsd:element name="RatingCount" ma:index="15" nillable="true" ma:displayName="Number of Ratings" ma:decimals="0" ma:description="Number of ratings submitted" ma:internalName="RatingCount" ma:readOnly="true">
      <xsd:simpleType>
        <xsd:restriction base="dms:Number"/>
      </xsd:simpleType>
    </xsd:element>
    <xsd:element name="RoutingRuleDescription" ma:index="36" nillable="true" ma:displayName="Description" ma:hidden="true" ma:internalName="RoutingRuleDescription" ma:readOnly="false">
      <xsd:simpleType>
        <xsd:restriction base="dms:Text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30e9df3-be65-4c73-a93b-d1236ebd677e" elementFormDefault="qualified">
    <xsd:import namespace="http://schemas.microsoft.com/office/2006/documentManagement/types"/>
    <xsd:import namespace="http://schemas.microsoft.com/office/infopath/2007/PartnerControls"/>
    <xsd:element name="DocumentDescription" ma:index="2" nillable="true" ma:displayName="DocumentDescription" ma:description="Alternate description for documents that can be used for display." ma:internalName="DocumentDescription">
      <xsd:simpleType>
        <xsd:restriction base="dms:Note"/>
      </xsd:simpleType>
    </xsd:element>
    <xsd:element name="Thumbnail1" ma:index="12" nillable="true" ma:displayName="Thumbnail" ma:format="Hyperlink" ma:internalName="Thumbnail1" ma:readOnly="fals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Owner" ma:index="17" nillable="true" ma:displayName="Owner" ma:description="Must be an FTE" ma:indexed="true" ma:list="UserInfo" ma:SharePointGroup="0" ma:internalName="Owner" ma:readOnly="false" ma:showField="Name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LCA_x0020_Approved" ma:index="23" nillable="true" ma:displayName="LCA Approved" ma:description="This field is for the name of the person from LCA that reviewed and approved the content." ma:list="UserInfo" ma:SharePointGroup="0" ma:internalName="LCA_x0020_Approved" ma:readOnly="false" ma:showField="ImnName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Expire_x0020_Review" ma:index="28" nillable="true" ma:displayName="Expiration" ma:format="DateOnly" ma:indexed="true" ma:internalName="Expire_x0020_Review" ma:readOnly="false">
      <xsd:simpleType>
        <xsd:restriction base="dms:DateTime"/>
      </xsd:simpleType>
    </xsd:element>
    <xsd:element name="hd9637eefc984b85b6097c6374e15725" ma:index="34" nillable="true" ma:taxonomy="true" ma:internalName="hd9637eefc984b85b6097c6374e15725" ma:taxonomyFieldName="ItemType" ma:displayName="SMSG Item Type" ma:readOnly="false" ma:default="" ma:fieldId="{1d9637ee-fc98-4b85-b609-7c6374e15725}" ma:taxonomyMulti="true" ma:sspId="e385fb40-52d4-4fae-9c5b-3e8ff8a5878e" ma:termSetId="a611a704-4666-406e-a571-a6e9bb4a2dcc" ma:anchorId="3d59bf14-be35-4b82-81a4-70bbe2a90cc2" ma:open="false" ma:isKeyword="false">
      <xsd:complexType>
        <xsd:sequence>
          <xsd:element ref="pc:Terms" minOccurs="0" maxOccurs="1"/>
        </xsd:sequence>
      </xsd:complexType>
    </xsd:element>
    <xsd:element name="l3c3ea61849e4288a8acc49bb5388e8c" ma:index="35" nillable="true" ma:taxonomy="true" ma:internalName="l3c3ea61849e4288a8acc49bb5388e8c" ma:taxonomyFieldName="Groups" ma:displayName="SMSG Groups" ma:readOnly="false" ma:default="" ma:fieldId="{53c3ea61-849e-4288-a8ac-c49bb5388e8c}" ma:taxonomyMulti="true" ma:sspId="e385fb40-52d4-4fae-9c5b-3e8ff8a5878e" ma:termSetId="d039009f-2da8-468b-bf5e-ff4693a9f72f" ma:anchorId="ec38e82f-eddf-4553-aa72-f3bd3c1d5855" ma:open="false" ma:isKeyword="false">
      <xsd:complexType>
        <xsd:sequence>
          <xsd:element ref="pc:Terms" minOccurs="0" maxOccurs="1"/>
        </xsd:sequence>
      </xsd:complexType>
    </xsd:element>
    <xsd:element name="i0d941ee1e744ffea7aeee9924c91cbb" ma:index="37" nillable="true" ma:taxonomy="true" ma:internalName="i0d941ee1e744ffea7aeee9924c91cbb" ma:taxonomyFieldName="BusinessArchitecture" ma:displayName="SMSG Business Architecture" ma:readOnly="false" ma:default="" ma:fieldId="{20d941ee-1e74-4ffe-a7ae-ee9924c91cbb}" ma:taxonomyMulti="true" ma:sspId="e385fb40-52d4-4fae-9c5b-3e8ff8a5878e" ma:termSetId="d039009f-2da8-468b-bf5e-ff4693a9f72f" ma:anchorId="1951c1e0-4cc7-414f-a435-7369277bc757" ma:open="false" ma:isKeyword="false">
      <xsd:complexType>
        <xsd:sequence>
          <xsd:element ref="pc:Terms" minOccurs="0" maxOccurs="1"/>
        </xsd:sequence>
      </xsd:complexType>
    </xsd:element>
    <xsd:element name="TaxCatchAllLabel" ma:index="38" nillable="true" ma:displayName="Taxonomy Catch All Column1" ma:hidden="true" ma:list="{341bdb36-d19b-4bce-9fa6-6145346cf024}" ma:internalName="TaxCatchAllLabel" ma:readOnly="true" ma:showField="CatchAllDataLabel" ma:web="ad820760-4664-4be3-bee2-f8b9a6708b4c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k21a64daf20d4502b2796a1c6b8ce6c8" ma:index="40" nillable="true" ma:taxonomy="true" ma:internalName="k21a64daf20d4502b2796a1c6b8ce6c8" ma:taxonomyFieldName="Industries" ma:displayName="SMSG Industries" ma:readOnly="false" ma:default="" ma:fieldId="{421a64da-f20d-4502-b279-6a1c6b8ce6c8}" ma:taxonomyMulti="true" ma:sspId="e385fb40-52d4-4fae-9c5b-3e8ff8a5878e" ma:termSetId="a611a704-4666-406e-a571-a6e9bb4a2dcc" ma:anchorId="322da17f-7441-43de-8ac8-ca7d62aec02b" ma:open="false" ma:isKeyword="false">
      <xsd:complexType>
        <xsd:sequence>
          <xsd:element ref="pc:Terms" minOccurs="0" maxOccurs="1"/>
        </xsd:sequence>
      </xsd:complexType>
    </xsd:element>
    <xsd:element name="TaxCatchAll" ma:index="41" nillable="true" ma:displayName="Taxonomy Catch All Column" ma:hidden="true" ma:list="{341bdb36-d19b-4bce-9fa6-6145346cf024}" ma:internalName="TaxCatchAll" ma:showField="CatchAllData" ma:web="ad820760-4664-4be3-bee2-f8b9a6708b4c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ef109fd36bcf4bcd9dd945731030600b" ma:index="42" nillable="true" ma:taxonomy="true" ma:internalName="ef109fd36bcf4bcd9dd945731030600b" ma:taxonomyFieldName="Region" ma:displayName="SMSG Region" ma:readOnly="false" ma:default="" ma:fieldId="{ef109fd3-6bcf-4bcd-9dd9-45731030600b}" ma:taxonomyMulti="true" ma:sspId="e385fb40-52d4-4fae-9c5b-3e8ff8a5878e" ma:termSetId="a611a704-4666-406e-a571-a6e9bb4a2dcc" ma:anchorId="c5404caa-7d82-41c6-82c2-0230c1d96864" ma:open="false" ma:isKeyword="false">
      <xsd:complexType>
        <xsd:sequence>
          <xsd:element ref="pc:Terms" minOccurs="0" maxOccurs="1"/>
        </xsd:sequence>
      </xsd:complexType>
    </xsd:element>
    <xsd:element name="mb88723863e1404388ba3733387d48df" ma:index="43" nillable="true" ma:taxonomy="true" ma:internalName="mb88723863e1404388ba3733387d48df" ma:taxonomyFieldName="Audiences" ma:displayName="SMSG Customer Audiences" ma:readOnly="false" ma:default="" ma:fieldId="{6b887238-63e1-4043-88ba-3733387d48df}" ma:taxonomyMulti="true" ma:sspId="e385fb40-52d4-4fae-9c5b-3e8ff8a5878e" ma:termSetId="a611a704-4666-406e-a571-a6e9bb4a2dcc" ma:anchorId="8a0280e9-c6e8-4e3c-80d6-8db643b96ddd" ma:open="false" ma:isKeyword="false">
      <xsd:complexType>
        <xsd:sequence>
          <xsd:element ref="pc:Terms" minOccurs="0" maxOccurs="1"/>
        </xsd:sequence>
      </xsd:complexType>
    </xsd:element>
    <xsd:element name="kf34bcdc8fc34e479d3f94c6210e8e27" ma:index="44" nillable="true" ma:taxonomy="true" ma:internalName="kf34bcdc8fc34e479d3f94c6210e8e27" ma:taxonomyFieldName="Competitors" ma:displayName="SMSG Competition" ma:readOnly="false" ma:default="" ma:fieldId="{4f34bcdc-8fc3-4e47-9d3f-94c6210e8e27}" ma:taxonomyMulti="true" ma:sspId="e385fb40-52d4-4fae-9c5b-3e8ff8a5878e" ma:termSetId="a611a704-4666-406e-a571-a6e9bb4a2dcc" ma:anchorId="718f8fd0-b740-48bc-92ad-5700213c04b2" ma:open="false" ma:isKeyword="false">
      <xsd:complexType>
        <xsd:sequence>
          <xsd:element ref="pc:Terms" minOccurs="0" maxOccurs="1"/>
        </xsd:sequence>
      </xsd:complexType>
    </xsd:element>
    <xsd:element name="_dlc_DocIdUrl" ma:index="45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ec5b2ad5c27b45fb8a00a1f27c7ce1ae" ma:index="46" nillable="true" ma:taxonomy="true" ma:internalName="ec5b2ad5c27b45fb8a00a1f27c7ce1ae" ma:taxonomyFieldName="Partners" ma:displayName="SMSG Partners" ma:readOnly="false" ma:default="" ma:fieldId="{ec5b2ad5-c27b-45fb-8a00-a1f27c7ce1ae}" ma:taxonomyMulti="true" ma:sspId="e385fb40-52d4-4fae-9c5b-3e8ff8a5878e" ma:termSetId="a611a704-4666-406e-a571-a6e9bb4a2dcc" ma:anchorId="dd1a91fa-3198-4561-9b04-bc737b2a8291" ma:open="false" ma:isKeyword="false">
      <xsd:complexType>
        <xsd:sequence>
          <xsd:element ref="pc:Terms" minOccurs="0" maxOccurs="1"/>
        </xsd:sequence>
      </xsd:complexType>
    </xsd:element>
    <xsd:element name="_dlc_DocIdPersistId" ma:index="47" nillable="true" ma:displayName="Persist ID" ma:description="Keep ID on add." ma:hidden="true" ma:internalName="_dlc_DocIdPersistId" ma:readOnly="true">
      <xsd:simpleType>
        <xsd:restriction base="dms:Boolean"/>
      </xsd:simpleType>
    </xsd:element>
    <xsd:element name="b60f8d2dbb984f349d80d8196897f4d3" ma:index="48" nillable="true" ma:taxonomy="true" ma:internalName="b60f8d2dbb984f349d80d8196897f4d3" ma:taxonomyFieldName="Roles" ma:displayName="SMSG Roles" ma:readOnly="false" ma:default="" ma:fieldId="{b60f8d2d-bb98-4f34-9d80-d8196897f4d3}" ma:taxonomyMulti="true" ma:sspId="e385fb40-52d4-4fae-9c5b-3e8ff8a5878e" ma:termSetId="a611a704-4666-406e-a571-a6e9bb4a2dcc" ma:anchorId="c9a07ef0-4236-4915-97ca-1b3392dac369" ma:open="false" ma:isKeyword="false">
      <xsd:complexType>
        <xsd:sequence>
          <xsd:element ref="pc:Terms" minOccurs="0" maxOccurs="1"/>
        </xsd:sequence>
      </xsd:complexType>
    </xsd:element>
    <xsd:element name="ConfidentialityTaxHTField0" ma:index="49" nillable="true" ma:taxonomy="true" ma:internalName="ConfidentialityTaxHTField0" ma:taxonomyFieldName="Confidentiality" ma:displayName="Confidentiality" ma:indexed="true" ma:readOnly="false" ma:default="1;#Microsoft confidential|461efa83-0283-486a-a8d5-943328f3693f" ma:fieldId="{840a9f3c-1e14-4c21-9dbf-5637765665db}" ma:sspId="e385fb40-52d4-4fae-9c5b-3e8ff8a5878e" ma:termSetId="e0e820dc-7da0-48b9-8472-209c7e82d1d0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k20e0dfa74bf4e44818db03027b0ccd8" ma:index="51" nillable="true" ma:taxonomy="true" ma:internalName="k20e0dfa74bf4e44818db03027b0ccd8" ma:taxonomyFieldName="Segments" ma:displayName="SMSG Customer Segments" ma:readOnly="false" ma:default="" ma:fieldId="{420e0dfa-74bf-4e44-818d-b03027b0ccd8}" ma:taxonomyMulti="true" ma:sspId="e385fb40-52d4-4fae-9c5b-3e8ff8a5878e" ma:termSetId="a611a704-4666-406e-a571-a6e9bb4a2dcc" ma:anchorId="dd7a2ee5-7d01-4a82-9346-1eefa47ece8b" ma:open="false" ma:isKeyword="false">
      <xsd:complexType>
        <xsd:sequence>
          <xsd:element ref="pc:Terms" minOccurs="0" maxOccurs="1"/>
        </xsd:sequence>
      </xsd:complexType>
    </xsd:element>
    <xsd:element name="eb54ac91059940029a3cc8a4ff5af673" ma:index="53" nillable="true" ma:taxonomy="true" ma:internalName="eb54ac91059940029a3cc8a4ff5af673" ma:taxonomyFieldName="SMSGDomain" ma:displayName="SMSG Domain" ma:readOnly="false" ma:default="" ma:fieldId="{eb54ac91-0599-4002-9a3c-c8a4ff5af673}" ma:taxonomyMulti="true" ma:sspId="e385fb40-52d4-4fae-9c5b-3e8ff8a5878e" ma:termSetId="a611a704-4666-406e-a571-a6e9bb4a2dcc" ma:anchorId="dd7a2ee5-7d01-4a82-9346-1eefa47ece8b" ma:open="false" ma:isKeyword="false">
      <xsd:complexType>
        <xsd:sequence>
          <xsd:element ref="pc:Terms" minOccurs="0" maxOccurs="1"/>
        </xsd:sequence>
      </xsd:complexType>
    </xsd:element>
    <xsd:element name="i1b478372f814787abd313030b81fcb2" ma:index="54" nillable="true" ma:taxonomy="true" ma:internalName="i1b478372f814787abd313030b81fcb2" ma:taxonomyFieldName="ActivitiesAndPrograms" ma:displayName="SMSG Activities &amp; Programs" ma:readOnly="false" ma:default="" ma:fieldId="{21b47837-2f81-4787-abd3-13030b81fcb2}" ma:taxonomyMulti="true" ma:sspId="e385fb40-52d4-4fae-9c5b-3e8ff8a5878e" ma:termSetId="d039009f-2da8-468b-bf5e-ff4693a9f72f" ma:anchorId="846d39ff-6475-4006-99df-de42970d666e" ma:open="false" ma:isKeyword="false">
      <xsd:complexType>
        <xsd:sequence>
          <xsd:element ref="pc:Terms" minOccurs="0" maxOccurs="1"/>
        </xsd:sequence>
      </xsd:complexType>
    </xsd:element>
    <xsd:element name="TaxKeywordTaxHTField" ma:index="58" nillable="true" ma:taxonomy="true" ma:internalName="TaxKeywordTaxHTField" ma:taxonomyFieldName="TaxKeyword" ma:displayName="Enterprise Keywords" ma:readOnly="false" ma:fieldId="{23f27201-bee3-471e-b2e7-b64fd8b7ca38}" ma:taxonomyMulti="true" ma:sspId="e385fb40-52d4-4fae-9c5b-3e8ff8a5878e" ma:termSetId="00000000-0000-0000-0000-000000000000" ma:anchorId="00000000-0000-0000-0000-000000000000" ma:open="true" ma:isKeyword="true">
      <xsd:complexType>
        <xsd:sequence>
          <xsd:element ref="pc:Terms" minOccurs="0" maxOccurs="1"/>
        </xsd:sequence>
      </xsd:complexType>
    </xsd:element>
    <xsd:element name="od9986d31974458fb3007746ec0bce5f" ma:index="59" nillable="true" ma:taxonomy="true" ma:internalName="od9986d31974458fb3007746ec0bce5f" ma:taxonomyFieldName="Languages" ma:displayName="SMSG Languages" ma:default="" ma:fieldId="{8d9986d3-1974-458f-b300-7746ec0bce5f}" ma:taxonomyMulti="true" ma:sspId="e385fb40-52d4-4fae-9c5b-3e8ff8a5878e" ma:termSetId="a611a704-4666-406e-a571-a6e9bb4a2dcc" ma:anchorId="c5f267fd-fa38-4ffe-a1d8-2693d87e90bc" ma:open="false" ma:isKeyword="false">
      <xsd:complexType>
        <xsd:sequence>
          <xsd:element ref="pc:Terms" minOccurs="0" maxOccurs="1"/>
        </xsd:sequence>
      </xsd:complexType>
    </xsd:element>
    <xsd:element name="m6c7b4717b6346e6a075a59dd47eac69" ma:index="60" nillable="true" ma:taxonomy="true" ma:internalName="m6c7b4717b6346e6a075a59dd47eac69" ma:taxonomyFieldName="Topics" ma:displayName="SMSG Topics" ma:readOnly="false" ma:default="" ma:fieldId="{66c7b471-7b63-46e6-a075-a59dd47eac69}" ma:taxonomyMulti="true" ma:sspId="e385fb40-52d4-4fae-9c5b-3e8ff8a5878e" ma:termSetId="d039009f-2da8-468b-bf5e-ff4693a9f72f" ma:anchorId="ddcce936-3357-448e-8326-e6fdfddfb752" ma:open="false" ma:isKeyword="false">
      <xsd:complexType>
        <xsd:sequence>
          <xsd:element ref="pc:Terms" minOccurs="0" maxOccurs="1"/>
        </xsd:sequence>
      </xsd:complexType>
    </xsd:element>
    <xsd:element name="_dlc_DocId" ma:index="61" nillable="true" ma:displayName="Document ID Value" ma:description="The value of the document ID assigned to this item." ma:indexed="true" ma:internalName="_dlc_DocId" ma:readOnly="true">
      <xsd:simpleType>
        <xsd:restriction base="dms:Text"/>
      </xsd:simpleType>
    </xsd:element>
    <xsd:element name="bf80e81150e248c48aa8cffdf0021a1f" ma:index="65" nillable="true" ma:taxonomy="true" ma:internalName="bf80e81150e248c48aa8cffdf0021a1f" ma:taxonomyFieldName="Products" ma:displayName="SMSG Products &amp; Technologies" ma:readOnly="false" ma:default="" ma:fieldId="{bf80e811-50e2-48c4-8aa8-cffdf0021a1f}" ma:taxonomyMulti="true" ma:sspId="e385fb40-52d4-4fae-9c5b-3e8ff8a5878e" ma:termSetId="a611a704-4666-406e-a571-a6e9bb4a2dcc" ma:anchorId="f7bdd4ba-8e81-43d6-a504-860f505d5c97" ma:open="false" ma:isKeyword="false">
      <xsd:complexType>
        <xsd:sequence>
          <xsd:element ref="pc:Terms" minOccurs="0" maxOccurs="1"/>
        </xsd:sequence>
      </xsd:complexType>
    </xsd:element>
    <xsd:element name="m6d26e40ac264097a006193f92232ece" ma:index="66" nillable="true" ma:taxonomy="true" ma:internalName="m6d26e40ac264097a006193f92232ece" ma:taxonomyFieldName="TechnicalLevel" ma:displayName="Technical Level" ma:readOnly="false" ma:default="" ma:fieldId="{66d26e40-ac26-4097-a006-193f92232ece}" ma:sspId="e385fb40-52d4-4fae-9c5b-3e8ff8a5878e" ma:termSetId="7123edbd-7265-47b9-9049-04e46d245d8e" ma:anchorId="3c636e1e-6390-429f-a144-68438d32bffe" ma:open="fals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d820760-4664-4be3-bee2-f8b9a6708b4c" elementFormDefault="qualified">
    <xsd:import namespace="http://schemas.microsoft.com/office/2006/documentManagement/types"/>
    <xsd:import namespace="http://schemas.microsoft.com/office/infopath/2007/PartnerControls"/>
    <xsd:element name="PublishDate" ma:index="3" nillable="true" ma:displayName="PublishDate" ma:description="Used in Blog Posts and documents." ma:format="DateOnly" ma:indexed="true" ma:internalName="PublishDate">
      <xsd:simpleType>
        <xsd:restriction base="dms:DateTime"/>
      </xsd:simpleType>
    </xsd:element>
    <xsd:element name="DocumentSetKcId" ma:index="31" nillable="true" ma:displayName="DocumentSetKcId" ma:description="Custom Column used to capture Document ID to share with DocumentSet Contents" ma:indexed="true" ma:internalName="DocumentSetKcId" ma:readOnly="false">
      <xsd:simpleType>
        <xsd:restriction base="dms:Text">
          <xsd:maxLength value="255"/>
        </xsd:restriction>
      </xsd:simpleType>
    </xsd:element>
    <xsd:element name="CoOwner" ma:index="32" nillable="true" ma:displayName="Co-Owner" ma:description="Co-Owner" ma:list="UserInfo" ma:SharePointGroup="0" ma:internalName="CoOwner" ma:readOnly="false" ma:showField="Nam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MediaTitle" ma:index="33" nillable="true" ma:displayName="BlogPostID" ma:description="Blog Post ID to link documents on the blog post." ma:internalName="MediaTitle" ma:readOnly="false">
      <xsd:simpleType>
        <xsd:restriction base="dms:Text">
          <xsd:maxLength value="255"/>
        </xsd:restriction>
      </xsd:simpleType>
    </xsd:element>
    <xsd:element name="ApplyWorkflowRules" ma:index="50" nillable="true" ma:displayName="ApplyWorkflowRules" ma:default="Yes" ma:description="This columns is used to help to apply the workflow rules on Document Sets / Documents. by Default the Value is Yes" ma:format="Dropdown" ma:hidden="true" ma:internalName="ApplyWorkflowRules" ma:readOnly="false">
      <xsd:simpleType>
        <xsd:restriction base="dms:Choice">
          <xsd:enumeration value="Yes"/>
          <xsd:enumeration value="No"/>
        </xsd:restriction>
      </xsd:simpleType>
    </xsd:element>
    <xsd:element name="b1337ea954344dcfb0425a10eee4daa8" ma:index="63" nillable="true" ma:taxonomy="true" ma:internalName="b1337ea954344dcfb0425a10eee4daa8" ma:taxonomyFieldName="EnterpriseDomainTags" ma:displayName="EnterpriseDomainTags" ma:default="" ma:fieldId="{b1337ea9-5434-4dcf-b042-5a10eee4daa8}" ma:taxonomyMulti="true" ma:sspId="e385fb40-52d4-4fae-9c5b-3e8ff8a5878e" ma:termSetId="d039009f-2da8-468b-bf5e-ff4693a9f72f" ma:anchorId="00000000-0000-0000-0000-000000000000" ma:open="fals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4" elementFormDefault="qualified">
    <xsd:import namespace="http://schemas.microsoft.com/office/2006/documentManagement/types"/>
    <xsd:import namespace="http://schemas.microsoft.com/office/infopath/2007/PartnerControls"/>
    <xsd:element name="IconOverlay" ma:index="55" nillable="true" ma:displayName="IconOverlay" ma:hidden="true" ma:internalName="IconOverlay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39" ma:displayName="Content Type"/>
        <xsd:element ref="dc:title" minOccurs="0" maxOccurs="1" ma:index="1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5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4.0.0.0, Culture=neutral, PublicKeyToken=71e9bce111e9429c</Assembly>
    <Class>Microsoft.Office.DocumentManagement.Internal.DocIdHandler</Class>
    <Data/>
    <Filter/>
  </Receiver>
  <Receiver>
    <Name>DocumentSet ItemUpdated</Name>
    <Synchronization>Synchronous</Synchronization>
    <Type>10002</Type>
    <SequenceNumber>100</SequenceNumber>
    <Url/>
    <Assembly>Microsoft.Office.DocumentManagement, Version=15.0.0.0, Culture=neutral, PublicKeyToken=71e9bce111e9429c</Assembly>
    <Class>Microsoft.Office.DocumentManagement.DocumentSets.DocumentSetEventReceiver</Class>
    <Data/>
    <Filter/>
  </Receiver>
  <Receiver>
    <Name>DocumentSet ItemAdded</Name>
    <Synchronization>Synchronous</Synchronization>
    <Type>10001</Type>
    <SequenceNumber>100</SequenceNumber>
    <Url/>
    <Assembly>Microsoft.Office.DocumentManagement, Version=15.0.0.0, Culture=neutral, PublicKeyToken=71e9bce111e9429c</Assembly>
    <Class>Microsoft.Office.DocumentManagement.DocumentSets.DocumentSetItemsEventReceiver</Class>
    <Data/>
    <Filter/>
  </Receiver>
</spe:Receivers>
</file>

<file path=customXml/itemProps1.xml><?xml version="1.0" encoding="utf-8"?>
<ds:datastoreItem xmlns:ds="http://schemas.openxmlformats.org/officeDocument/2006/customXml" ds:itemID="{9F809753-BD6D-417D-881F-81452428E4F9}">
  <ds:schemaRefs>
    <ds:schemaRef ds:uri="http://schemas.microsoft.com/office/2006/documentManagement/types"/>
    <ds:schemaRef ds:uri="http://purl.org/dc/elements/1.1/"/>
    <ds:schemaRef ds:uri="http://schemas.microsoft.com/office/infopath/2007/PartnerControls"/>
    <ds:schemaRef ds:uri="http://schemas.openxmlformats.org/package/2006/metadata/core-properties"/>
    <ds:schemaRef ds:uri="http://purl.org/dc/terms/"/>
    <ds:schemaRef ds:uri="http://schemas.microsoft.com/sharepoint/v4"/>
    <ds:schemaRef ds:uri="230e9df3-be65-4c73-a93b-d1236ebd677e"/>
    <ds:schemaRef ds:uri="http://purl.org/dc/dcmitype/"/>
    <ds:schemaRef ds:uri="http://schemas.microsoft.com/office/2006/metadata/properties"/>
    <ds:schemaRef ds:uri="ad820760-4664-4be3-bee2-f8b9a6708b4c"/>
    <ds:schemaRef ds:uri="http://schemas.microsoft.com/sharepoint/v3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C9809EFA-06F1-4B23-94EC-7EFD876B5350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124D2FD4-8DE7-448F-A1FC-782C2ABE009F}">
  <ds:schemaRefs>
    <ds:schemaRef ds:uri="Microsoft.SharePoint.Taxonomy.ContentTypeSync"/>
  </ds:schemaRefs>
</ds:datastoreItem>
</file>

<file path=customXml/itemProps4.xml><?xml version="1.0" encoding="utf-8"?>
<ds:datastoreItem xmlns:ds="http://schemas.openxmlformats.org/officeDocument/2006/customXml" ds:itemID="{71875FBF-3EA2-42EF-9D78-0DE73C62967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230e9df3-be65-4c73-a93b-d1236ebd677e"/>
    <ds:schemaRef ds:uri="ad820760-4664-4be3-bee2-f8b9a6708b4c"/>
    <ds:schemaRef ds:uri="http://schemas.microsoft.com/sharepoint/v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5.xml><?xml version="1.0" encoding="utf-8"?>
<ds:datastoreItem xmlns:ds="http://schemas.openxmlformats.org/officeDocument/2006/customXml" ds:itemID="{224D1A93-209C-4802-BFDE-A8C210095D2E}">
  <ds:schemaRefs>
    <ds:schemaRef ds:uri="http://schemas.microsoft.com/sharepoint/event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21886</TotalTime>
  <Words>388</Words>
  <Application>Microsoft Office PowerPoint</Application>
  <PresentationFormat>Widescreen</PresentationFormat>
  <Paragraphs>191</Paragraphs>
  <Slides>49</Slides>
  <Notes>15</Notes>
  <HiddenSlides>0</HiddenSlides>
  <MMClips>0</MMClips>
  <ScaleCrop>false</ScaleCrop>
  <HeadingPairs>
    <vt:vector size="8" baseType="variant">
      <vt:variant>
        <vt:lpstr>Fonts Used</vt:lpstr>
      </vt:variant>
      <vt:variant>
        <vt:i4>17</vt:i4>
      </vt:variant>
      <vt:variant>
        <vt:lpstr>Theme</vt:lpstr>
      </vt:variant>
      <vt:variant>
        <vt:i4>1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9</vt:i4>
      </vt:variant>
    </vt:vector>
  </HeadingPairs>
  <TitlesOfParts>
    <vt:vector size="79" baseType="lpstr">
      <vt:lpstr>Arial</vt:lpstr>
      <vt:lpstr>Bell MT</vt:lpstr>
      <vt:lpstr>Berlin Sans FB</vt:lpstr>
      <vt:lpstr>Bodoni MT</vt:lpstr>
      <vt:lpstr>Calibri</vt:lpstr>
      <vt:lpstr>Consolas</vt:lpstr>
      <vt:lpstr>Courier New</vt:lpstr>
      <vt:lpstr>Roboto Black</vt:lpstr>
      <vt:lpstr>Roboto Condensed Light</vt:lpstr>
      <vt:lpstr>Roboto Medium</vt:lpstr>
      <vt:lpstr>Segoe UI</vt:lpstr>
      <vt:lpstr>Segoe UI Light</vt:lpstr>
      <vt:lpstr>Segoe UI Semibold</vt:lpstr>
      <vt:lpstr>segoe-ui_bold</vt:lpstr>
      <vt:lpstr>segoe-ui_normal</vt:lpstr>
      <vt:lpstr>Tw Cen MT</vt:lpstr>
      <vt:lpstr>Wingdings</vt:lpstr>
      <vt:lpstr>STB Product Families 2013</vt:lpstr>
      <vt:lpstr>Power BI Template</vt:lpstr>
      <vt:lpstr>2_WHITE TEMPLATE</vt:lpstr>
      <vt:lpstr>3_LIGHT COLOR TEMPLATE</vt:lpstr>
      <vt:lpstr>2_Power BI Template</vt:lpstr>
      <vt:lpstr>3_Power BI Template</vt:lpstr>
      <vt:lpstr>1_5-30610_Microsoft_Ignite_Keynote_Template</vt:lpstr>
      <vt:lpstr>4_Power BI Template</vt:lpstr>
      <vt:lpstr>4_LIGHT COLOR TEMPLATE</vt:lpstr>
      <vt:lpstr>2_LIGHT COLOR TEMPLATE</vt:lpstr>
      <vt:lpstr>5_LIGHT COLOR TEMPLATE</vt:lpstr>
      <vt:lpstr>3_WHITE TEMPLAT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Thankyou for Coming to PowerBI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 BI Capability Deck Level 200</dc:title>
  <dc:creator>Sanjay Soni</dc:creator>
  <cp:keywords/>
  <cp:lastModifiedBy>Black Widow</cp:lastModifiedBy>
  <cp:revision>1837</cp:revision>
  <cp:lastPrinted>2015-05-19T00:06:12Z</cp:lastPrinted>
  <dcterms:created xsi:type="dcterms:W3CDTF">2015-05-11T15:24:15Z</dcterms:created>
  <dcterms:modified xsi:type="dcterms:W3CDTF">2018-06-24T19:11:5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E4CB7077FEE4FF7AE86D4A500EEC7800300C6CD36C6B4DAA64EAACFCCF5D9298AA000B09CC05C6355444CB49B4B62F83D23B8</vt:lpwstr>
  </property>
  <property fmtid="{D5CDD505-2E9C-101B-9397-08002B2CF9AE}" pid="3" name="p1cd454bacc149bfbcfd764edd279de7">
    <vt:lpwstr/>
  </property>
  <property fmtid="{D5CDD505-2E9C-101B-9397-08002B2CF9AE}" pid="4" name="TaxKeyword">
    <vt:lpwstr/>
  </property>
  <property fmtid="{D5CDD505-2E9C-101B-9397-08002B2CF9AE}" pid="5" name="_dlc_policyId">
    <vt:lpwstr/>
  </property>
  <property fmtid="{D5CDD505-2E9C-101B-9397-08002B2CF9AE}" pid="6" name="Region">
    <vt:lpwstr/>
  </property>
  <property fmtid="{D5CDD505-2E9C-101B-9397-08002B2CF9AE}" pid="7" name="Confidentiality">
    <vt:lpwstr>216;#customer ready|8986c41d-21c5-4f8f-8a12-ea4625b46858</vt:lpwstr>
  </property>
  <property fmtid="{D5CDD505-2E9C-101B-9397-08002B2CF9AE}" pid="8" name="ItemType">
    <vt:lpwstr>31;#technical presentations|83a894cf-702b-47fc-aba5-41bd10dc1e75</vt:lpwstr>
  </property>
  <property fmtid="{D5CDD505-2E9C-101B-9397-08002B2CF9AE}" pid="9" name="bc28b5f076654a3b96073bbbebfeb8c9">
    <vt:lpwstr/>
  </property>
  <property fmtid="{D5CDD505-2E9C-101B-9397-08002B2CF9AE}" pid="10" name="Industries">
    <vt:lpwstr/>
  </property>
  <property fmtid="{D5CDD505-2E9C-101B-9397-08002B2CF9AE}" pid="11" name="MSProducts">
    <vt:lpwstr/>
  </property>
  <property fmtid="{D5CDD505-2E9C-101B-9397-08002B2CF9AE}" pid="12" name="j4d667fb28274e85b2214f6e751c8d1f">
    <vt:lpwstr/>
  </property>
  <property fmtid="{D5CDD505-2E9C-101B-9397-08002B2CF9AE}" pid="13" name="Competitors">
    <vt:lpwstr/>
  </property>
  <property fmtid="{D5CDD505-2E9C-101B-9397-08002B2CF9AE}" pid="14" name="SMSGDomain">
    <vt:lpwstr>566;#SQL Server Domain|0c0f1824-39dc-4b26-8c74-eff4364b812b;#156;#Server and Tools Business|6783548d-8609-4f97-be4a-4ca2616905a6</vt:lpwstr>
  </property>
  <property fmtid="{D5CDD505-2E9C-101B-9397-08002B2CF9AE}" pid="15" name="ItemRetentionFormula">
    <vt:lpwstr/>
  </property>
  <property fmtid="{D5CDD505-2E9C-101B-9397-08002B2CF9AE}" pid="16" name="BusinessArchitecture">
    <vt:lpwstr>13;#business intelligence|e1f9659f-bde9-4479-81f9-2bc6e8ec0057</vt:lpwstr>
  </property>
  <property fmtid="{D5CDD505-2E9C-101B-9397-08002B2CF9AE}" pid="17" name="SMSGTags">
    <vt:lpwstr/>
  </property>
  <property fmtid="{D5CDD505-2E9C-101B-9397-08002B2CF9AE}" pid="18" name="j031aa32f4154c8c9a646efae715ebde">
    <vt:lpwstr/>
  </property>
  <property fmtid="{D5CDD505-2E9C-101B-9397-08002B2CF9AE}" pid="19" name="Products">
    <vt:lpwstr>262;#Microsoft SQL Server|261ba873-f3ab-420e-96d6-e3004596a551;#2324;#Microsoft SQL Server Business Intelligence|9ffb7045-1f1b-41c0-987f-ffdc7c6f53c0</vt:lpwstr>
  </property>
  <property fmtid="{D5CDD505-2E9C-101B-9397-08002B2CF9AE}" pid="20" name="_dlc_DocIdItemGuid">
    <vt:lpwstr>4e483f87-ffd0-4047-bcc2-6a36cef5fcd3</vt:lpwstr>
  </property>
  <property fmtid="{D5CDD505-2E9C-101B-9397-08002B2CF9AE}" pid="21" name="EnterpriseDomainTags">
    <vt:lpwstr/>
  </property>
  <property fmtid="{D5CDD505-2E9C-101B-9397-08002B2CF9AE}" pid="22" name="l311460e3fdf46688abc31ddb7bdc05a">
    <vt:lpwstr/>
  </property>
  <property fmtid="{D5CDD505-2E9C-101B-9397-08002B2CF9AE}" pid="23" name="ActivitiesAndPrograms">
    <vt:lpwstr/>
  </property>
  <property fmtid="{D5CDD505-2E9C-101B-9397-08002B2CF9AE}" pid="24" name="Segments">
    <vt:lpwstr/>
  </property>
  <property fmtid="{D5CDD505-2E9C-101B-9397-08002B2CF9AE}" pid="25" name="Partners">
    <vt:lpwstr/>
  </property>
  <property fmtid="{D5CDD505-2E9C-101B-9397-08002B2CF9AE}" pid="26" name="WorkflowChangePath">
    <vt:lpwstr>4c942473-d120-4286-a51a-b65ad3d92ffb,2;4c942473-d120-4286-a51a-b65ad3d92ffb,2;4c942473-d120-4286-a51a-b65ad3d92ffb,2;4c942473-d120-4286-a51a-b65ad3d92ffb,49;4c942473-d120-4286-a51a-b65ad3d92ffb,68;4c942473-d120-4286-a51a-b65ad3d92ffb,101;4c942473-d120-428</vt:lpwstr>
  </property>
  <property fmtid="{D5CDD505-2E9C-101B-9397-08002B2CF9AE}" pid="27" name="la4444b61d19467597d63190b69ac227">
    <vt:lpwstr/>
  </property>
  <property fmtid="{D5CDD505-2E9C-101B-9397-08002B2CF9AE}" pid="28" name="Topics">
    <vt:lpwstr/>
  </property>
  <property fmtid="{D5CDD505-2E9C-101B-9397-08002B2CF9AE}" pid="29" name="Groups">
    <vt:lpwstr>762;#SQL Server Marketing|bb7921b3-c1d8-4da4-b894-8b6075d9546d;#311;#Cloud and Enterprise Marketing Group|4f75e184-e5aa-4234-a07f-b032d60df254</vt:lpwstr>
  </property>
  <property fmtid="{D5CDD505-2E9C-101B-9397-08002B2CF9AE}" pid="30" name="MSProductsTaxHTField0">
    <vt:lpwstr/>
  </property>
  <property fmtid="{D5CDD505-2E9C-101B-9397-08002B2CF9AE}" pid="31" name="Languages">
    <vt:lpwstr/>
  </property>
  <property fmtid="{D5CDD505-2E9C-101B-9397-08002B2CF9AE}" pid="32" name="_docset_NoMedatataSyncRequired">
    <vt:lpwstr>False</vt:lpwstr>
  </property>
  <property fmtid="{D5CDD505-2E9C-101B-9397-08002B2CF9AE}" pid="33" name="messageframeworktype">
    <vt:lpwstr/>
  </property>
  <property fmtid="{D5CDD505-2E9C-101B-9397-08002B2CF9AE}" pid="34" name="MSLanguage">
    <vt:lpwstr/>
  </property>
  <property fmtid="{D5CDD505-2E9C-101B-9397-08002B2CF9AE}" pid="35" name="cb7870d3641f4a52807a63577a9c1b08">
    <vt:lpwstr/>
  </property>
  <property fmtid="{D5CDD505-2E9C-101B-9397-08002B2CF9AE}" pid="36" name="TechnicalLevel">
    <vt:lpwstr/>
  </property>
  <property fmtid="{D5CDD505-2E9C-101B-9397-08002B2CF9AE}" pid="37" name="Audiences">
    <vt:lpwstr/>
  </property>
  <property fmtid="{D5CDD505-2E9C-101B-9397-08002B2CF9AE}" pid="38" name="LearningOrganization">
    <vt:lpwstr/>
  </property>
  <property fmtid="{D5CDD505-2E9C-101B-9397-08002B2CF9AE}" pid="39" name="EmployeeRole">
    <vt:lpwstr/>
  </property>
  <property fmtid="{D5CDD505-2E9C-101B-9397-08002B2CF9AE}" pid="40" name="LearningDeliveryMethod">
    <vt:lpwstr/>
  </property>
  <property fmtid="{D5CDD505-2E9C-101B-9397-08002B2CF9AE}" pid="41" name="SalesGeography">
    <vt:lpwstr/>
  </property>
  <property fmtid="{D5CDD505-2E9C-101B-9397-08002B2CF9AE}" pid="42" name="Roles">
    <vt:lpwstr/>
  </property>
</Properties>
</file>